
<file path=[Content_Types].xml><?xml version="1.0" encoding="utf-8"?>
<Types xmlns="http://schemas.openxmlformats.org/package/2006/content-types">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66"/>
  </p:notesMasterIdLst>
  <p:sldIdLst>
    <p:sldId id="256" r:id="rId5"/>
    <p:sldId id="259" r:id="rId6"/>
    <p:sldId id="741" r:id="rId7"/>
    <p:sldId id="257" r:id="rId8"/>
    <p:sldId id="260" r:id="rId9"/>
    <p:sldId id="268" r:id="rId10"/>
    <p:sldId id="378" r:id="rId11"/>
    <p:sldId id="743" r:id="rId12"/>
    <p:sldId id="779" r:id="rId13"/>
    <p:sldId id="744" r:id="rId14"/>
    <p:sldId id="780" r:id="rId15"/>
    <p:sldId id="745" r:id="rId16"/>
    <p:sldId id="781" r:id="rId17"/>
    <p:sldId id="754" r:id="rId18"/>
    <p:sldId id="755" r:id="rId19"/>
    <p:sldId id="782" r:id="rId20"/>
    <p:sldId id="756" r:id="rId21"/>
    <p:sldId id="783" r:id="rId22"/>
    <p:sldId id="757" r:id="rId23"/>
    <p:sldId id="784" r:id="rId24"/>
    <p:sldId id="759" r:id="rId25"/>
    <p:sldId id="760" r:id="rId26"/>
    <p:sldId id="763" r:id="rId27"/>
    <p:sldId id="764" r:id="rId28"/>
    <p:sldId id="659" r:id="rId29"/>
    <p:sldId id="766" r:id="rId30"/>
    <p:sldId id="742" r:id="rId31"/>
    <p:sldId id="515" r:id="rId32"/>
    <p:sldId id="767" r:id="rId33"/>
    <p:sldId id="746" r:id="rId34"/>
    <p:sldId id="768" r:id="rId35"/>
    <p:sldId id="747" r:id="rId36"/>
    <p:sldId id="748" r:id="rId37"/>
    <p:sldId id="769" r:id="rId38"/>
    <p:sldId id="749" r:id="rId39"/>
    <p:sldId id="750" r:id="rId40"/>
    <p:sldId id="770" r:id="rId41"/>
    <p:sldId id="751" r:id="rId42"/>
    <p:sldId id="752" r:id="rId43"/>
    <p:sldId id="753" r:id="rId44"/>
    <p:sldId id="771" r:id="rId45"/>
    <p:sldId id="758" r:id="rId46"/>
    <p:sldId id="772" r:id="rId47"/>
    <p:sldId id="761" r:id="rId48"/>
    <p:sldId id="762" r:id="rId49"/>
    <p:sldId id="773" r:id="rId50"/>
    <p:sldId id="765" r:id="rId51"/>
    <p:sldId id="661" r:id="rId52"/>
    <p:sldId id="774" r:id="rId53"/>
    <p:sldId id="776" r:id="rId54"/>
    <p:sldId id="777" r:id="rId55"/>
    <p:sldId id="775" r:id="rId56"/>
    <p:sldId id="778" r:id="rId57"/>
    <p:sldId id="726" r:id="rId58"/>
    <p:sldId id="269" r:id="rId59"/>
    <p:sldId id="514" r:id="rId60"/>
    <p:sldId id="311" r:id="rId61"/>
    <p:sldId id="513" r:id="rId62"/>
    <p:sldId id="560" r:id="rId63"/>
    <p:sldId id="258" r:id="rId64"/>
    <p:sldId id="295" r:id="rId65"/>
  </p:sldIdLst>
  <p:sldSz cx="12192000" cy="6858000"/>
  <p:notesSz cx="6858000" cy="9144000"/>
  <p:custDataLst>
    <p:tags r:id="rId6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D37E0177-E211-42F8-A7CC-FA63384FE6C3}">
          <p14:sldIdLst>
            <p14:sldId id="256"/>
          </p14:sldIdLst>
        </p14:section>
        <p14:section name="Sponsor" id="{D011E8E5-823D-480B-8BF6-54CDB31E68DA}">
          <p14:sldIdLst>
            <p14:sldId id="259"/>
            <p14:sldId id="741"/>
          </p14:sldIdLst>
        </p14:section>
        <p14:section name="Agenda" id="{F647BFF8-4121-4AA9-A3A5-704C7298B4AA}">
          <p14:sldIdLst>
            <p14:sldId id="257"/>
          </p14:sldIdLst>
        </p14:section>
        <p14:section name="Thema 1" id="{8DA5B730-9004-4FB2-8570-6E803035A6CD}">
          <p14:sldIdLst>
            <p14:sldId id="260"/>
          </p14:sldIdLst>
        </p14:section>
        <p14:section name="Teams - Neuigkeiten" id="{73969E79-BF4C-4A42-908F-F7570ABA4A98}">
          <p14:sldIdLst>
            <p14:sldId id="268"/>
            <p14:sldId id="378"/>
            <p14:sldId id="743"/>
            <p14:sldId id="779"/>
            <p14:sldId id="744"/>
            <p14:sldId id="780"/>
            <p14:sldId id="745"/>
            <p14:sldId id="781"/>
            <p14:sldId id="754"/>
            <p14:sldId id="755"/>
            <p14:sldId id="782"/>
            <p14:sldId id="756"/>
            <p14:sldId id="783"/>
            <p14:sldId id="757"/>
            <p14:sldId id="784"/>
            <p14:sldId id="759"/>
            <p14:sldId id="760"/>
            <p14:sldId id="763"/>
            <p14:sldId id="764"/>
          </p14:sldIdLst>
        </p14:section>
        <p14:section name="Teams - Admin Neuigkeiten" id="{7C225801-E561-41DE-8F97-F87042681E2C}">
          <p14:sldIdLst>
            <p14:sldId id="659"/>
            <p14:sldId id="766"/>
            <p14:sldId id="742"/>
            <p14:sldId id="515"/>
            <p14:sldId id="767"/>
            <p14:sldId id="746"/>
            <p14:sldId id="768"/>
            <p14:sldId id="747"/>
            <p14:sldId id="748"/>
            <p14:sldId id="769"/>
            <p14:sldId id="749"/>
            <p14:sldId id="750"/>
            <p14:sldId id="770"/>
            <p14:sldId id="751"/>
            <p14:sldId id="752"/>
            <p14:sldId id="753"/>
            <p14:sldId id="771"/>
            <p14:sldId id="758"/>
            <p14:sldId id="772"/>
            <p14:sldId id="761"/>
            <p14:sldId id="762"/>
            <p14:sldId id="773"/>
            <p14:sldId id="765"/>
          </p14:sldIdLst>
        </p14:section>
        <p14:section name="Thema 2" id="{BB4DF258-6F6B-4D2B-9274-58E5C608B757}">
          <p14:sldIdLst>
            <p14:sldId id="661"/>
            <p14:sldId id="774"/>
            <p14:sldId id="776"/>
            <p14:sldId id="777"/>
            <p14:sldId id="775"/>
            <p14:sldId id="778"/>
            <p14:sldId id="726"/>
          </p14:sldIdLst>
        </p14:section>
        <p14:section name="Teams Links" id="{C626A91B-1CDC-41DD-9427-AA9AC4C3F91D}">
          <p14:sldIdLst>
            <p14:sldId id="269"/>
          </p14:sldIdLst>
        </p14:section>
        <p14:section name="Microsoft 365 Message Center" id="{0509DF31-EEE8-42C8-AA24-84C932B426A6}">
          <p14:sldIdLst>
            <p14:sldId id="514"/>
          </p14:sldIdLst>
        </p14:section>
        <p14:section name="Organisatorisches" id="{758F5043-CBE5-4C5B-AC05-24F0E67CE7B1}">
          <p14:sldIdLst>
            <p14:sldId id="311"/>
            <p14:sldId id="513"/>
            <p14:sldId id="560"/>
          </p14:sldIdLst>
        </p14:section>
        <p14:section name="Final" id="{ED9DC36E-CA50-4511-A993-523054390192}">
          <p14:sldIdLst>
            <p14:sldId id="258"/>
          </p14:sldIdLst>
        </p14:section>
        <p14:section name="Offene Diskussion" id="{3CED83CD-B212-4EFE-8FBC-C7C92AC8FE7A}">
          <p14:sldIdLst>
            <p14:sldId id="295"/>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1462F1E-0CE4-4310-BDB3-DCDEDFDFEA3A}" v="121" dt="2023-10-31T11:25:43.55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2838BEF-8BB2-4498-84A7-C5851F593DF1}" styleName="Mittlere Formatvorlage 4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416" autoAdjust="0"/>
    <p:restoredTop sz="74887" autoAdjust="0"/>
  </p:normalViewPr>
  <p:slideViewPr>
    <p:cSldViewPr snapToGrid="0">
      <p:cViewPr varScale="1">
        <p:scale>
          <a:sx n="70" d="100"/>
          <a:sy n="70" d="100"/>
        </p:scale>
        <p:origin x="572" y="3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homas Stensitzki" userId="75cafe6b-2f2a-469b-85c4-eec3b9c972ba" providerId="ADAL" clId="{F2BB4D5E-E5E5-4B84-8DD9-A7ADA0B72E44}"/>
    <pc:docChg chg="undo custSel addSld delSld modSld sldOrd delSection modSection">
      <pc:chgData name="Thomas Stensitzki" userId="75cafe6b-2f2a-469b-85c4-eec3b9c972ba" providerId="ADAL" clId="{F2BB4D5E-E5E5-4B84-8DD9-A7ADA0B72E44}" dt="2022-05-10T08:03:07.444" v="4346" actId="20577"/>
      <pc:docMkLst>
        <pc:docMk/>
      </pc:docMkLst>
      <pc:sldChg chg="modSp mod modTransition">
        <pc:chgData name="Thomas Stensitzki" userId="75cafe6b-2f2a-469b-85c4-eec3b9c972ba" providerId="ADAL" clId="{F2BB4D5E-E5E5-4B84-8DD9-A7ADA0B72E44}" dt="2022-04-24T09:40:00.182" v="3780"/>
        <pc:sldMkLst>
          <pc:docMk/>
          <pc:sldMk cId="671489701" sldId="256"/>
        </pc:sldMkLst>
        <pc:spChg chg="mod">
          <ac:chgData name="Thomas Stensitzki" userId="75cafe6b-2f2a-469b-85c4-eec3b9c972ba" providerId="ADAL" clId="{F2BB4D5E-E5E5-4B84-8DD9-A7ADA0B72E44}" dt="2022-04-19T12:20:42.343" v="14" actId="6549"/>
          <ac:spMkLst>
            <pc:docMk/>
            <pc:sldMk cId="671489701" sldId="256"/>
            <ac:spMk id="3" creationId="{CBA95633-B02D-4A15-A8B1-A38E0A70FD27}"/>
          </ac:spMkLst>
        </pc:spChg>
      </pc:sldChg>
      <pc:sldChg chg="delSp modSp mod modTransition">
        <pc:chgData name="Thomas Stensitzki" userId="75cafe6b-2f2a-469b-85c4-eec3b9c972ba" providerId="ADAL" clId="{F2BB4D5E-E5E5-4B84-8DD9-A7ADA0B72E44}" dt="2022-04-28T15:43:53.935" v="4318" actId="6549"/>
        <pc:sldMkLst>
          <pc:docMk/>
          <pc:sldMk cId="2855324227" sldId="257"/>
        </pc:sldMkLst>
        <pc:grpChg chg="del">
          <ac:chgData name="Thomas Stensitzki" userId="75cafe6b-2f2a-469b-85c4-eec3b9c972ba" providerId="ADAL" clId="{F2BB4D5E-E5E5-4B84-8DD9-A7ADA0B72E44}" dt="2022-04-19T12:21:56.725" v="45" actId="478"/>
          <ac:grpSpMkLst>
            <pc:docMk/>
            <pc:sldMk cId="2855324227" sldId="257"/>
            <ac:grpSpMk id="10" creationId="{D2AA4FDE-6B43-48F3-A5F5-5B79619A7E68}"/>
          </ac:grpSpMkLst>
        </pc:grpChg>
        <pc:graphicFrameChg chg="mod modGraphic">
          <ac:chgData name="Thomas Stensitzki" userId="75cafe6b-2f2a-469b-85c4-eec3b9c972ba" providerId="ADAL" clId="{F2BB4D5E-E5E5-4B84-8DD9-A7ADA0B72E44}" dt="2022-04-28T15:43:53.935" v="4318" actId="6549"/>
          <ac:graphicFrameMkLst>
            <pc:docMk/>
            <pc:sldMk cId="2855324227" sldId="257"/>
            <ac:graphicFrameMk id="6" creationId="{0F955DCC-462D-431D-BBDE-26F10687D590}"/>
          </ac:graphicFrameMkLst>
        </pc:graphicFrameChg>
      </pc:sldChg>
      <pc:sldChg chg="modSp mod modTransition">
        <pc:chgData name="Thomas Stensitzki" userId="75cafe6b-2f2a-469b-85c4-eec3b9c972ba" providerId="ADAL" clId="{F2BB4D5E-E5E5-4B84-8DD9-A7ADA0B72E44}" dt="2022-04-24T09:40:00.182" v="3780"/>
        <pc:sldMkLst>
          <pc:docMk/>
          <pc:sldMk cId="3332792154" sldId="258"/>
        </pc:sldMkLst>
        <pc:spChg chg="mod">
          <ac:chgData name="Thomas Stensitzki" userId="75cafe6b-2f2a-469b-85c4-eec3b9c972ba" providerId="ADAL" clId="{F2BB4D5E-E5E5-4B84-8DD9-A7ADA0B72E44}" dt="2022-04-19T12:25:42.045" v="198" actId="20577"/>
          <ac:spMkLst>
            <pc:docMk/>
            <pc:sldMk cId="3332792154" sldId="258"/>
            <ac:spMk id="3" creationId="{3A5A44EB-7FB9-473A-8ED3-C49DDD2E65AB}"/>
          </ac:spMkLst>
        </pc:spChg>
      </pc:sldChg>
      <pc:sldChg chg="modTransition">
        <pc:chgData name="Thomas Stensitzki" userId="75cafe6b-2f2a-469b-85c4-eec3b9c972ba" providerId="ADAL" clId="{F2BB4D5E-E5E5-4B84-8DD9-A7ADA0B72E44}" dt="2022-04-24T09:40:00.182" v="3780"/>
        <pc:sldMkLst>
          <pc:docMk/>
          <pc:sldMk cId="1545829058" sldId="259"/>
        </pc:sldMkLst>
      </pc:sldChg>
      <pc:sldChg chg="modSp mod modTransition">
        <pc:chgData name="Thomas Stensitzki" userId="75cafe6b-2f2a-469b-85c4-eec3b9c972ba" providerId="ADAL" clId="{F2BB4D5E-E5E5-4B84-8DD9-A7ADA0B72E44}" dt="2022-04-24T09:40:00.182" v="3780"/>
        <pc:sldMkLst>
          <pc:docMk/>
          <pc:sldMk cId="2698998357" sldId="260"/>
        </pc:sldMkLst>
        <pc:spChg chg="mod">
          <ac:chgData name="Thomas Stensitzki" userId="75cafe6b-2f2a-469b-85c4-eec3b9c972ba" providerId="ADAL" clId="{F2BB4D5E-E5E5-4B84-8DD9-A7ADA0B72E44}" dt="2022-04-19T12:23:07.832" v="89"/>
          <ac:spMkLst>
            <pc:docMk/>
            <pc:sldMk cId="2698998357" sldId="260"/>
            <ac:spMk id="4" creationId="{F3A15CBD-C746-44A3-A4F0-4898CE2F02E6}"/>
          </ac:spMkLst>
        </pc:spChg>
        <pc:spChg chg="mod">
          <ac:chgData name="Thomas Stensitzki" userId="75cafe6b-2f2a-469b-85c4-eec3b9c972ba" providerId="ADAL" clId="{F2BB4D5E-E5E5-4B84-8DD9-A7ADA0B72E44}" dt="2022-04-19T12:23:21.309" v="123" actId="20577"/>
          <ac:spMkLst>
            <pc:docMk/>
            <pc:sldMk cId="2698998357" sldId="260"/>
            <ac:spMk id="5" creationId="{F3459BE7-1731-4733-A912-12977C68CFD6}"/>
          </ac:spMkLst>
        </pc:spChg>
      </pc:sldChg>
      <pc:sldChg chg="del mod modTransition modShow">
        <pc:chgData name="Thomas Stensitzki" userId="75cafe6b-2f2a-469b-85c4-eec3b9c972ba" providerId="ADAL" clId="{F2BB4D5E-E5E5-4B84-8DD9-A7ADA0B72E44}" dt="2022-04-29T05:46:47.851" v="4338" actId="18676"/>
        <pc:sldMkLst>
          <pc:docMk/>
          <pc:sldMk cId="4007670073" sldId="268"/>
        </pc:sldMkLst>
      </pc:sldChg>
      <pc:sldChg chg="mod modTransition modShow">
        <pc:chgData name="Thomas Stensitzki" userId="75cafe6b-2f2a-469b-85c4-eec3b9c972ba" providerId="ADAL" clId="{F2BB4D5E-E5E5-4B84-8DD9-A7ADA0B72E44}" dt="2022-04-28T15:44:48.047" v="4320" actId="729"/>
        <pc:sldMkLst>
          <pc:docMk/>
          <pc:sldMk cId="2721051844" sldId="269"/>
        </pc:sldMkLst>
      </pc:sldChg>
      <pc:sldChg chg="modTransition">
        <pc:chgData name="Thomas Stensitzki" userId="75cafe6b-2f2a-469b-85c4-eec3b9c972ba" providerId="ADAL" clId="{F2BB4D5E-E5E5-4B84-8DD9-A7ADA0B72E44}" dt="2022-04-24T09:40:00.182" v="3780"/>
        <pc:sldMkLst>
          <pc:docMk/>
          <pc:sldMk cId="1928334901" sldId="295"/>
        </pc:sldMkLst>
      </pc:sldChg>
      <pc:sldChg chg="del modTransition">
        <pc:chgData name="Thomas Stensitzki" userId="75cafe6b-2f2a-469b-85c4-eec3b9c972ba" providerId="ADAL" clId="{F2BB4D5E-E5E5-4B84-8DD9-A7ADA0B72E44}" dt="2022-04-29T05:46:58.925" v="4340" actId="18676"/>
        <pc:sldMkLst>
          <pc:docMk/>
          <pc:sldMk cId="466045460" sldId="296"/>
        </pc:sldMkLst>
      </pc:sldChg>
      <pc:sldChg chg="modTransition">
        <pc:chgData name="Thomas Stensitzki" userId="75cafe6b-2f2a-469b-85c4-eec3b9c972ba" providerId="ADAL" clId="{F2BB4D5E-E5E5-4B84-8DD9-A7ADA0B72E44}" dt="2022-04-24T09:40:00.182" v="3780"/>
        <pc:sldMkLst>
          <pc:docMk/>
          <pc:sldMk cId="53967156" sldId="297"/>
        </pc:sldMkLst>
      </pc:sldChg>
      <pc:sldChg chg="modTransition">
        <pc:chgData name="Thomas Stensitzki" userId="75cafe6b-2f2a-469b-85c4-eec3b9c972ba" providerId="ADAL" clId="{F2BB4D5E-E5E5-4B84-8DD9-A7ADA0B72E44}" dt="2022-04-24T09:40:00.182" v="3780"/>
        <pc:sldMkLst>
          <pc:docMk/>
          <pc:sldMk cId="2814967912" sldId="311"/>
        </pc:sldMkLst>
      </pc:sldChg>
      <pc:sldChg chg="modTransition">
        <pc:chgData name="Thomas Stensitzki" userId="75cafe6b-2f2a-469b-85c4-eec3b9c972ba" providerId="ADAL" clId="{F2BB4D5E-E5E5-4B84-8DD9-A7ADA0B72E44}" dt="2022-04-24T09:40:00.182" v="3780"/>
        <pc:sldMkLst>
          <pc:docMk/>
          <pc:sldMk cId="726195275" sldId="313"/>
        </pc:sldMkLst>
      </pc:sldChg>
      <pc:sldChg chg="del mod modTransition modShow">
        <pc:chgData name="Thomas Stensitzki" userId="75cafe6b-2f2a-469b-85c4-eec3b9c972ba" providerId="ADAL" clId="{F2BB4D5E-E5E5-4B84-8DD9-A7ADA0B72E44}" dt="2022-04-29T05:46:47.851" v="4338" actId="18676"/>
        <pc:sldMkLst>
          <pc:docMk/>
          <pc:sldMk cId="2227487991" sldId="378"/>
        </pc:sldMkLst>
      </pc:sldChg>
      <pc:sldChg chg="modTransition">
        <pc:chgData name="Thomas Stensitzki" userId="75cafe6b-2f2a-469b-85c4-eec3b9c972ba" providerId="ADAL" clId="{F2BB4D5E-E5E5-4B84-8DD9-A7ADA0B72E44}" dt="2022-04-24T09:40:00.182" v="3780"/>
        <pc:sldMkLst>
          <pc:docMk/>
          <pc:sldMk cId="2923837414" sldId="513"/>
        </pc:sldMkLst>
      </pc:sldChg>
      <pc:sldChg chg="modTransition">
        <pc:chgData name="Thomas Stensitzki" userId="75cafe6b-2f2a-469b-85c4-eec3b9c972ba" providerId="ADAL" clId="{F2BB4D5E-E5E5-4B84-8DD9-A7ADA0B72E44}" dt="2022-04-24T09:40:00.182" v="3780"/>
        <pc:sldMkLst>
          <pc:docMk/>
          <pc:sldMk cId="2395924320" sldId="514"/>
        </pc:sldMkLst>
      </pc:sldChg>
      <pc:sldChg chg="del mod modTransition modShow">
        <pc:chgData name="Thomas Stensitzki" userId="75cafe6b-2f2a-469b-85c4-eec3b9c972ba" providerId="ADAL" clId="{F2BB4D5E-E5E5-4B84-8DD9-A7ADA0B72E44}" dt="2022-04-29T05:46:51.822" v="4339" actId="18676"/>
        <pc:sldMkLst>
          <pc:docMk/>
          <pc:sldMk cId="3797754622" sldId="515"/>
        </pc:sldMkLst>
      </pc:sldChg>
      <pc:sldChg chg="modTransition">
        <pc:chgData name="Thomas Stensitzki" userId="75cafe6b-2f2a-469b-85c4-eec3b9c972ba" providerId="ADAL" clId="{F2BB4D5E-E5E5-4B84-8DD9-A7ADA0B72E44}" dt="2022-04-24T09:40:00.182" v="3780"/>
        <pc:sldMkLst>
          <pc:docMk/>
          <pc:sldMk cId="2791634409" sldId="560"/>
        </pc:sldMkLst>
      </pc:sldChg>
      <pc:sldChg chg="modSp mod modTransition">
        <pc:chgData name="Thomas Stensitzki" userId="75cafe6b-2f2a-469b-85c4-eec3b9c972ba" providerId="ADAL" clId="{F2BB4D5E-E5E5-4B84-8DD9-A7ADA0B72E44}" dt="2022-04-24T09:40:00.182" v="3780"/>
        <pc:sldMkLst>
          <pc:docMk/>
          <pc:sldMk cId="1728515471" sldId="561"/>
        </pc:sldMkLst>
        <pc:graphicFrameChg chg="modGraphic">
          <ac:chgData name="Thomas Stensitzki" userId="75cafe6b-2f2a-469b-85c4-eec3b9c972ba" providerId="ADAL" clId="{F2BB4D5E-E5E5-4B84-8DD9-A7ADA0B72E44}" dt="2022-04-19T12:25:17.142" v="165" actId="2165"/>
          <ac:graphicFrameMkLst>
            <pc:docMk/>
            <pc:sldMk cId="1728515471" sldId="561"/>
            <ac:graphicFrameMk id="4" creationId="{55EDB790-67BC-42E5-B64A-5647620B8383}"/>
          </ac:graphicFrameMkLst>
        </pc:graphicFrameChg>
      </pc:sldChg>
      <pc:sldChg chg="del">
        <pc:chgData name="Thomas Stensitzki" userId="75cafe6b-2f2a-469b-85c4-eec3b9c972ba" providerId="ADAL" clId="{F2BB4D5E-E5E5-4B84-8DD9-A7ADA0B72E44}" dt="2022-04-19T12:23:55.448" v="125" actId="47"/>
        <pc:sldMkLst>
          <pc:docMk/>
          <pc:sldMk cId="4104137776" sldId="567"/>
        </pc:sldMkLst>
      </pc:sldChg>
      <pc:sldChg chg="del">
        <pc:chgData name="Thomas Stensitzki" userId="75cafe6b-2f2a-469b-85c4-eec3b9c972ba" providerId="ADAL" clId="{F2BB4D5E-E5E5-4B84-8DD9-A7ADA0B72E44}" dt="2022-04-19T12:23:51.426" v="124" actId="47"/>
        <pc:sldMkLst>
          <pc:docMk/>
          <pc:sldMk cId="2374589673" sldId="568"/>
        </pc:sldMkLst>
      </pc:sldChg>
      <pc:sldChg chg="del">
        <pc:chgData name="Thomas Stensitzki" userId="75cafe6b-2f2a-469b-85c4-eec3b9c972ba" providerId="ADAL" clId="{F2BB4D5E-E5E5-4B84-8DD9-A7ADA0B72E44}" dt="2022-04-19T12:23:55.448" v="125" actId="47"/>
        <pc:sldMkLst>
          <pc:docMk/>
          <pc:sldMk cId="1152622229" sldId="569"/>
        </pc:sldMkLst>
      </pc:sldChg>
      <pc:sldChg chg="del">
        <pc:chgData name="Thomas Stensitzki" userId="75cafe6b-2f2a-469b-85c4-eec3b9c972ba" providerId="ADAL" clId="{F2BB4D5E-E5E5-4B84-8DD9-A7ADA0B72E44}" dt="2022-04-19T12:23:51.426" v="124" actId="47"/>
        <pc:sldMkLst>
          <pc:docMk/>
          <pc:sldMk cId="1687430561" sldId="570"/>
        </pc:sldMkLst>
      </pc:sldChg>
      <pc:sldChg chg="del">
        <pc:chgData name="Thomas Stensitzki" userId="75cafe6b-2f2a-469b-85c4-eec3b9c972ba" providerId="ADAL" clId="{F2BB4D5E-E5E5-4B84-8DD9-A7ADA0B72E44}" dt="2022-04-19T12:23:51.426" v="124" actId="47"/>
        <pc:sldMkLst>
          <pc:docMk/>
          <pc:sldMk cId="3500137736" sldId="571"/>
        </pc:sldMkLst>
      </pc:sldChg>
      <pc:sldChg chg="del">
        <pc:chgData name="Thomas Stensitzki" userId="75cafe6b-2f2a-469b-85c4-eec3b9c972ba" providerId="ADAL" clId="{F2BB4D5E-E5E5-4B84-8DD9-A7ADA0B72E44}" dt="2022-04-19T12:23:51.426" v="124" actId="47"/>
        <pc:sldMkLst>
          <pc:docMk/>
          <pc:sldMk cId="3650339848" sldId="572"/>
        </pc:sldMkLst>
      </pc:sldChg>
      <pc:sldChg chg="del">
        <pc:chgData name="Thomas Stensitzki" userId="75cafe6b-2f2a-469b-85c4-eec3b9c972ba" providerId="ADAL" clId="{F2BB4D5E-E5E5-4B84-8DD9-A7ADA0B72E44}" dt="2022-04-19T12:23:57.164" v="126" actId="47"/>
        <pc:sldMkLst>
          <pc:docMk/>
          <pc:sldMk cId="1013366872" sldId="573"/>
        </pc:sldMkLst>
      </pc:sldChg>
      <pc:sldChg chg="del">
        <pc:chgData name="Thomas Stensitzki" userId="75cafe6b-2f2a-469b-85c4-eec3b9c972ba" providerId="ADAL" clId="{F2BB4D5E-E5E5-4B84-8DD9-A7ADA0B72E44}" dt="2022-04-19T12:23:51.426" v="124" actId="47"/>
        <pc:sldMkLst>
          <pc:docMk/>
          <pc:sldMk cId="3064786489" sldId="574"/>
        </pc:sldMkLst>
      </pc:sldChg>
      <pc:sldChg chg="del">
        <pc:chgData name="Thomas Stensitzki" userId="75cafe6b-2f2a-469b-85c4-eec3b9c972ba" providerId="ADAL" clId="{F2BB4D5E-E5E5-4B84-8DD9-A7ADA0B72E44}" dt="2022-04-19T12:23:51.426" v="124" actId="47"/>
        <pc:sldMkLst>
          <pc:docMk/>
          <pc:sldMk cId="2959338283" sldId="575"/>
        </pc:sldMkLst>
      </pc:sldChg>
      <pc:sldChg chg="del">
        <pc:chgData name="Thomas Stensitzki" userId="75cafe6b-2f2a-469b-85c4-eec3b9c972ba" providerId="ADAL" clId="{F2BB4D5E-E5E5-4B84-8DD9-A7ADA0B72E44}" dt="2022-04-19T12:23:51.426" v="124" actId="47"/>
        <pc:sldMkLst>
          <pc:docMk/>
          <pc:sldMk cId="267886642" sldId="576"/>
        </pc:sldMkLst>
      </pc:sldChg>
      <pc:sldChg chg="del">
        <pc:chgData name="Thomas Stensitzki" userId="75cafe6b-2f2a-469b-85c4-eec3b9c972ba" providerId="ADAL" clId="{F2BB4D5E-E5E5-4B84-8DD9-A7ADA0B72E44}" dt="2022-04-19T12:23:57.164" v="126" actId="47"/>
        <pc:sldMkLst>
          <pc:docMk/>
          <pc:sldMk cId="3394268917" sldId="577"/>
        </pc:sldMkLst>
      </pc:sldChg>
      <pc:sldChg chg="del">
        <pc:chgData name="Thomas Stensitzki" userId="75cafe6b-2f2a-469b-85c4-eec3b9c972ba" providerId="ADAL" clId="{F2BB4D5E-E5E5-4B84-8DD9-A7ADA0B72E44}" dt="2022-04-19T12:23:51.426" v="124" actId="47"/>
        <pc:sldMkLst>
          <pc:docMk/>
          <pc:sldMk cId="42815850" sldId="578"/>
        </pc:sldMkLst>
      </pc:sldChg>
      <pc:sldChg chg="del">
        <pc:chgData name="Thomas Stensitzki" userId="75cafe6b-2f2a-469b-85c4-eec3b9c972ba" providerId="ADAL" clId="{F2BB4D5E-E5E5-4B84-8DD9-A7ADA0B72E44}" dt="2022-04-19T12:23:58.675" v="127" actId="47"/>
        <pc:sldMkLst>
          <pc:docMk/>
          <pc:sldMk cId="1853019381" sldId="580"/>
        </pc:sldMkLst>
      </pc:sldChg>
      <pc:sldChg chg="del">
        <pc:chgData name="Thomas Stensitzki" userId="75cafe6b-2f2a-469b-85c4-eec3b9c972ba" providerId="ADAL" clId="{F2BB4D5E-E5E5-4B84-8DD9-A7ADA0B72E44}" dt="2022-04-19T12:23:51.426" v="124" actId="47"/>
        <pc:sldMkLst>
          <pc:docMk/>
          <pc:sldMk cId="2983071606" sldId="581"/>
        </pc:sldMkLst>
      </pc:sldChg>
      <pc:sldChg chg="del">
        <pc:chgData name="Thomas Stensitzki" userId="75cafe6b-2f2a-469b-85c4-eec3b9c972ba" providerId="ADAL" clId="{F2BB4D5E-E5E5-4B84-8DD9-A7ADA0B72E44}" dt="2022-04-19T12:23:51.426" v="124" actId="47"/>
        <pc:sldMkLst>
          <pc:docMk/>
          <pc:sldMk cId="170210111" sldId="582"/>
        </pc:sldMkLst>
      </pc:sldChg>
      <pc:sldChg chg="del">
        <pc:chgData name="Thomas Stensitzki" userId="75cafe6b-2f2a-469b-85c4-eec3b9c972ba" providerId="ADAL" clId="{F2BB4D5E-E5E5-4B84-8DD9-A7ADA0B72E44}" dt="2022-04-19T12:24:00.296" v="128" actId="47"/>
        <pc:sldMkLst>
          <pc:docMk/>
          <pc:sldMk cId="631042199" sldId="583"/>
        </pc:sldMkLst>
      </pc:sldChg>
      <pc:sldChg chg="del">
        <pc:chgData name="Thomas Stensitzki" userId="75cafe6b-2f2a-469b-85c4-eec3b9c972ba" providerId="ADAL" clId="{F2BB4D5E-E5E5-4B84-8DD9-A7ADA0B72E44}" dt="2022-04-19T12:24:00.296" v="128" actId="47"/>
        <pc:sldMkLst>
          <pc:docMk/>
          <pc:sldMk cId="120922638" sldId="584"/>
        </pc:sldMkLst>
      </pc:sldChg>
      <pc:sldChg chg="del">
        <pc:chgData name="Thomas Stensitzki" userId="75cafe6b-2f2a-469b-85c4-eec3b9c972ba" providerId="ADAL" clId="{F2BB4D5E-E5E5-4B84-8DD9-A7ADA0B72E44}" dt="2022-04-19T12:24:02.307" v="129" actId="47"/>
        <pc:sldMkLst>
          <pc:docMk/>
          <pc:sldMk cId="569684178" sldId="585"/>
        </pc:sldMkLst>
      </pc:sldChg>
      <pc:sldChg chg="del">
        <pc:chgData name="Thomas Stensitzki" userId="75cafe6b-2f2a-469b-85c4-eec3b9c972ba" providerId="ADAL" clId="{F2BB4D5E-E5E5-4B84-8DD9-A7ADA0B72E44}" dt="2022-04-19T12:23:51.426" v="124" actId="47"/>
        <pc:sldMkLst>
          <pc:docMk/>
          <pc:sldMk cId="2892638827" sldId="586"/>
        </pc:sldMkLst>
      </pc:sldChg>
      <pc:sldChg chg="del">
        <pc:chgData name="Thomas Stensitzki" userId="75cafe6b-2f2a-469b-85c4-eec3b9c972ba" providerId="ADAL" clId="{F2BB4D5E-E5E5-4B84-8DD9-A7ADA0B72E44}" dt="2022-04-19T12:24:02.307" v="129" actId="47"/>
        <pc:sldMkLst>
          <pc:docMk/>
          <pc:sldMk cId="952964549" sldId="587"/>
        </pc:sldMkLst>
      </pc:sldChg>
      <pc:sldChg chg="del">
        <pc:chgData name="Thomas Stensitzki" userId="75cafe6b-2f2a-469b-85c4-eec3b9c972ba" providerId="ADAL" clId="{F2BB4D5E-E5E5-4B84-8DD9-A7ADA0B72E44}" dt="2022-04-19T12:23:51.426" v="124" actId="47"/>
        <pc:sldMkLst>
          <pc:docMk/>
          <pc:sldMk cId="3831261343" sldId="588"/>
        </pc:sldMkLst>
      </pc:sldChg>
      <pc:sldChg chg="del">
        <pc:chgData name="Thomas Stensitzki" userId="75cafe6b-2f2a-469b-85c4-eec3b9c972ba" providerId="ADAL" clId="{F2BB4D5E-E5E5-4B84-8DD9-A7ADA0B72E44}" dt="2022-04-19T12:23:51.426" v="124" actId="47"/>
        <pc:sldMkLst>
          <pc:docMk/>
          <pc:sldMk cId="3795303455" sldId="589"/>
        </pc:sldMkLst>
      </pc:sldChg>
      <pc:sldChg chg="del mod modTransition modShow">
        <pc:chgData name="Thomas Stensitzki" userId="75cafe6b-2f2a-469b-85c4-eec3b9c972ba" providerId="ADAL" clId="{F2BB4D5E-E5E5-4B84-8DD9-A7ADA0B72E44}" dt="2022-04-29T05:46:47.851" v="4338" actId="18676"/>
        <pc:sldMkLst>
          <pc:docMk/>
          <pc:sldMk cId="3073320387" sldId="590"/>
        </pc:sldMkLst>
      </pc:sldChg>
      <pc:sldChg chg="addSp delSp modSp new mod modTransition modClrScheme chgLayout">
        <pc:chgData name="Thomas Stensitzki" userId="75cafe6b-2f2a-469b-85c4-eec3b9c972ba" providerId="ADAL" clId="{F2BB4D5E-E5E5-4B84-8DD9-A7ADA0B72E44}" dt="2022-04-24T09:40:00.182" v="3780"/>
        <pc:sldMkLst>
          <pc:docMk/>
          <pc:sldMk cId="2363331893" sldId="591"/>
        </pc:sldMkLst>
        <pc:spChg chg="del mod ord">
          <ac:chgData name="Thomas Stensitzki" userId="75cafe6b-2f2a-469b-85c4-eec3b9c972ba" providerId="ADAL" clId="{F2BB4D5E-E5E5-4B84-8DD9-A7ADA0B72E44}" dt="2022-04-23T09:22:02.525" v="200" actId="700"/>
          <ac:spMkLst>
            <pc:docMk/>
            <pc:sldMk cId="2363331893" sldId="591"/>
            <ac:spMk id="2" creationId="{526541C5-3F4A-4170-B689-A4EB12620F59}"/>
          </ac:spMkLst>
        </pc:spChg>
        <pc:spChg chg="del mod ord">
          <ac:chgData name="Thomas Stensitzki" userId="75cafe6b-2f2a-469b-85c4-eec3b9c972ba" providerId="ADAL" clId="{F2BB4D5E-E5E5-4B84-8DD9-A7ADA0B72E44}" dt="2022-04-23T09:22:02.525" v="200" actId="700"/>
          <ac:spMkLst>
            <pc:docMk/>
            <pc:sldMk cId="2363331893" sldId="591"/>
            <ac:spMk id="3" creationId="{E2D57D62-47F7-43E8-A60D-D9337E34DDAF}"/>
          </ac:spMkLst>
        </pc:spChg>
        <pc:spChg chg="add mod ord">
          <ac:chgData name="Thomas Stensitzki" userId="75cafe6b-2f2a-469b-85c4-eec3b9c972ba" providerId="ADAL" clId="{F2BB4D5E-E5E5-4B84-8DD9-A7ADA0B72E44}" dt="2022-04-23T09:22:11.325" v="227" actId="20577"/>
          <ac:spMkLst>
            <pc:docMk/>
            <pc:sldMk cId="2363331893" sldId="591"/>
            <ac:spMk id="4" creationId="{041C0BDF-2374-4ACD-9289-35E2F2C5124D}"/>
          </ac:spMkLst>
        </pc:spChg>
        <pc:spChg chg="add mod ord">
          <ac:chgData name="Thomas Stensitzki" userId="75cafe6b-2f2a-469b-85c4-eec3b9c972ba" providerId="ADAL" clId="{F2BB4D5E-E5E5-4B84-8DD9-A7ADA0B72E44}" dt="2022-04-23T09:25:45.940" v="446" actId="20577"/>
          <ac:spMkLst>
            <pc:docMk/>
            <pc:sldMk cId="2363331893" sldId="591"/>
            <ac:spMk id="5" creationId="{B1886A4C-E9E4-4111-BFDC-F9784FD52406}"/>
          </ac:spMkLst>
        </pc:spChg>
      </pc:sldChg>
      <pc:sldChg chg="del">
        <pc:chgData name="Thomas Stensitzki" userId="75cafe6b-2f2a-469b-85c4-eec3b9c972ba" providerId="ADAL" clId="{F2BB4D5E-E5E5-4B84-8DD9-A7ADA0B72E44}" dt="2022-04-19T12:23:51.426" v="124" actId="47"/>
        <pc:sldMkLst>
          <pc:docMk/>
          <pc:sldMk cId="3676688735" sldId="591"/>
        </pc:sldMkLst>
      </pc:sldChg>
      <pc:sldChg chg="del">
        <pc:chgData name="Thomas Stensitzki" userId="75cafe6b-2f2a-469b-85c4-eec3b9c972ba" providerId="ADAL" clId="{F2BB4D5E-E5E5-4B84-8DD9-A7ADA0B72E44}" dt="2022-04-19T12:23:51.426" v="124" actId="47"/>
        <pc:sldMkLst>
          <pc:docMk/>
          <pc:sldMk cId="3760764139" sldId="592"/>
        </pc:sldMkLst>
      </pc:sldChg>
      <pc:sldChg chg="addSp modSp add mod modTransition">
        <pc:chgData name="Thomas Stensitzki" userId="75cafe6b-2f2a-469b-85c4-eec3b9c972ba" providerId="ADAL" clId="{F2BB4D5E-E5E5-4B84-8DD9-A7ADA0B72E44}" dt="2022-04-24T09:40:00.182" v="3780"/>
        <pc:sldMkLst>
          <pc:docMk/>
          <pc:sldMk cId="3853557247" sldId="592"/>
        </pc:sldMkLst>
        <pc:spChg chg="mod">
          <ac:chgData name="Thomas Stensitzki" userId="75cafe6b-2f2a-469b-85c4-eec3b9c972ba" providerId="ADAL" clId="{F2BB4D5E-E5E5-4B84-8DD9-A7ADA0B72E44}" dt="2022-04-23T09:31:38.194" v="730" actId="20577"/>
          <ac:spMkLst>
            <pc:docMk/>
            <pc:sldMk cId="3853557247" sldId="592"/>
            <ac:spMk id="5" creationId="{B1886A4C-E9E4-4111-BFDC-F9784FD52406}"/>
          </ac:spMkLst>
        </pc:spChg>
        <pc:graphicFrameChg chg="add mod">
          <ac:chgData name="Thomas Stensitzki" userId="75cafe6b-2f2a-469b-85c4-eec3b9c972ba" providerId="ADAL" clId="{F2BB4D5E-E5E5-4B84-8DD9-A7ADA0B72E44}" dt="2022-04-23T09:47:24.905" v="1279" actId="255"/>
          <ac:graphicFrameMkLst>
            <pc:docMk/>
            <pc:sldMk cId="3853557247" sldId="592"/>
            <ac:graphicFrameMk id="7" creationId="{8E195FE2-4880-48CB-B868-BBA9AE33BDAC}"/>
          </ac:graphicFrameMkLst>
        </pc:graphicFrameChg>
        <pc:picChg chg="add mod">
          <ac:chgData name="Thomas Stensitzki" userId="75cafe6b-2f2a-469b-85c4-eec3b9c972ba" providerId="ADAL" clId="{F2BB4D5E-E5E5-4B84-8DD9-A7ADA0B72E44}" dt="2022-04-23T09:26:20.430" v="463" actId="1076"/>
          <ac:picMkLst>
            <pc:docMk/>
            <pc:sldMk cId="3853557247" sldId="592"/>
            <ac:picMk id="6" creationId="{CEA74D49-4C77-4349-BF8E-F89AAC8F4441}"/>
          </ac:picMkLst>
        </pc:picChg>
      </pc:sldChg>
      <pc:sldChg chg="del">
        <pc:chgData name="Thomas Stensitzki" userId="75cafe6b-2f2a-469b-85c4-eec3b9c972ba" providerId="ADAL" clId="{F2BB4D5E-E5E5-4B84-8DD9-A7ADA0B72E44}" dt="2022-04-19T12:23:51.426" v="124" actId="47"/>
        <pc:sldMkLst>
          <pc:docMk/>
          <pc:sldMk cId="1160737551" sldId="593"/>
        </pc:sldMkLst>
      </pc:sldChg>
      <pc:sldChg chg="addSp delSp modSp add mod ord modTransition modAnim">
        <pc:chgData name="Thomas Stensitzki" userId="75cafe6b-2f2a-469b-85c4-eec3b9c972ba" providerId="ADAL" clId="{F2BB4D5E-E5E5-4B84-8DD9-A7ADA0B72E44}" dt="2022-04-28T10:23:06.864" v="4306"/>
        <pc:sldMkLst>
          <pc:docMk/>
          <pc:sldMk cId="2298534792" sldId="593"/>
        </pc:sldMkLst>
        <pc:spChg chg="add del mod">
          <ac:chgData name="Thomas Stensitzki" userId="75cafe6b-2f2a-469b-85c4-eec3b9c972ba" providerId="ADAL" clId="{F2BB4D5E-E5E5-4B84-8DD9-A7ADA0B72E44}" dt="2022-04-23T09:33:36.115" v="747" actId="478"/>
          <ac:spMkLst>
            <pc:docMk/>
            <pc:sldMk cId="2298534792" sldId="593"/>
            <ac:spMk id="3" creationId="{2090C550-8C82-4B9B-8D88-7F36615A70EE}"/>
          </ac:spMkLst>
        </pc:spChg>
        <pc:spChg chg="mod">
          <ac:chgData name="Thomas Stensitzki" userId="75cafe6b-2f2a-469b-85c4-eec3b9c972ba" providerId="ADAL" clId="{F2BB4D5E-E5E5-4B84-8DD9-A7ADA0B72E44}" dt="2022-04-23T09:33:31.526" v="745" actId="20577"/>
          <ac:spMkLst>
            <pc:docMk/>
            <pc:sldMk cId="2298534792" sldId="593"/>
            <ac:spMk id="4" creationId="{041C0BDF-2374-4ACD-9289-35E2F2C5124D}"/>
          </ac:spMkLst>
        </pc:spChg>
        <pc:spChg chg="del">
          <ac:chgData name="Thomas Stensitzki" userId="75cafe6b-2f2a-469b-85c4-eec3b9c972ba" providerId="ADAL" clId="{F2BB4D5E-E5E5-4B84-8DD9-A7ADA0B72E44}" dt="2022-04-23T09:33:34.245" v="746" actId="478"/>
          <ac:spMkLst>
            <pc:docMk/>
            <pc:sldMk cId="2298534792" sldId="593"/>
            <ac:spMk id="5" creationId="{B1886A4C-E9E4-4111-BFDC-F9784FD52406}"/>
          </ac:spMkLst>
        </pc:spChg>
        <pc:graphicFrameChg chg="add mod modGraphic">
          <ac:chgData name="Thomas Stensitzki" userId="75cafe6b-2f2a-469b-85c4-eec3b9c972ba" providerId="ADAL" clId="{F2BB4D5E-E5E5-4B84-8DD9-A7ADA0B72E44}" dt="2022-04-23T09:46:19.893" v="1270" actId="207"/>
          <ac:graphicFrameMkLst>
            <pc:docMk/>
            <pc:sldMk cId="2298534792" sldId="593"/>
            <ac:graphicFrameMk id="6" creationId="{FE12EC38-BE45-436C-BBA0-59EECEE02FDE}"/>
          </ac:graphicFrameMkLst>
        </pc:graphicFrameChg>
      </pc:sldChg>
      <pc:sldChg chg="addSp modSp add mod ord modTransition modAnim">
        <pc:chgData name="Thomas Stensitzki" userId="75cafe6b-2f2a-469b-85c4-eec3b9c972ba" providerId="ADAL" clId="{F2BB4D5E-E5E5-4B84-8DD9-A7ADA0B72E44}" dt="2022-04-28T10:23:48.597" v="4310"/>
        <pc:sldMkLst>
          <pc:docMk/>
          <pc:sldMk cId="166762484" sldId="594"/>
        </pc:sldMkLst>
        <pc:spChg chg="mod">
          <ac:chgData name="Thomas Stensitzki" userId="75cafe6b-2f2a-469b-85c4-eec3b9c972ba" providerId="ADAL" clId="{F2BB4D5E-E5E5-4B84-8DD9-A7ADA0B72E44}" dt="2022-04-23T09:38:24.976" v="1076" actId="20577"/>
          <ac:spMkLst>
            <pc:docMk/>
            <pc:sldMk cId="166762484" sldId="594"/>
            <ac:spMk id="4" creationId="{041C0BDF-2374-4ACD-9289-35E2F2C5124D}"/>
          </ac:spMkLst>
        </pc:spChg>
        <pc:spChg chg="mod">
          <ac:chgData name="Thomas Stensitzki" userId="75cafe6b-2f2a-469b-85c4-eec3b9c972ba" providerId="ADAL" clId="{F2BB4D5E-E5E5-4B84-8DD9-A7ADA0B72E44}" dt="2022-04-23T09:42:20.878" v="1239" actId="20577"/>
          <ac:spMkLst>
            <pc:docMk/>
            <pc:sldMk cId="166762484" sldId="594"/>
            <ac:spMk id="5" creationId="{B1886A4C-E9E4-4111-BFDC-F9784FD52406}"/>
          </ac:spMkLst>
        </pc:spChg>
        <pc:graphicFrameChg chg="add mod">
          <ac:chgData name="Thomas Stensitzki" userId="75cafe6b-2f2a-469b-85c4-eec3b9c972ba" providerId="ADAL" clId="{F2BB4D5E-E5E5-4B84-8DD9-A7ADA0B72E44}" dt="2022-04-28T10:23:32.162" v="4308" actId="20577"/>
          <ac:graphicFrameMkLst>
            <pc:docMk/>
            <pc:sldMk cId="166762484" sldId="594"/>
            <ac:graphicFrameMk id="6" creationId="{E0427C03-BC88-4F0C-9059-80A1E40C7D42}"/>
          </ac:graphicFrameMkLst>
        </pc:graphicFrameChg>
      </pc:sldChg>
      <pc:sldChg chg="del">
        <pc:chgData name="Thomas Stensitzki" userId="75cafe6b-2f2a-469b-85c4-eec3b9c972ba" providerId="ADAL" clId="{F2BB4D5E-E5E5-4B84-8DD9-A7ADA0B72E44}" dt="2022-04-19T12:23:51.426" v="124" actId="47"/>
        <pc:sldMkLst>
          <pc:docMk/>
          <pc:sldMk cId="3620025916" sldId="594"/>
        </pc:sldMkLst>
      </pc:sldChg>
      <pc:sldChg chg="del">
        <pc:chgData name="Thomas Stensitzki" userId="75cafe6b-2f2a-469b-85c4-eec3b9c972ba" providerId="ADAL" clId="{F2BB4D5E-E5E5-4B84-8DD9-A7ADA0B72E44}" dt="2022-04-19T12:23:51.426" v="124" actId="47"/>
        <pc:sldMkLst>
          <pc:docMk/>
          <pc:sldMk cId="2243482533" sldId="595"/>
        </pc:sldMkLst>
      </pc:sldChg>
      <pc:sldChg chg="addSp delSp modSp add mod ord modTransition modAnim">
        <pc:chgData name="Thomas Stensitzki" userId="75cafe6b-2f2a-469b-85c4-eec3b9c972ba" providerId="ADAL" clId="{F2BB4D5E-E5E5-4B84-8DD9-A7ADA0B72E44}" dt="2022-04-28T10:22:18.488" v="4301"/>
        <pc:sldMkLst>
          <pc:docMk/>
          <pc:sldMk cId="2680249750" sldId="595"/>
        </pc:sldMkLst>
        <pc:spChg chg="add mod">
          <ac:chgData name="Thomas Stensitzki" userId="75cafe6b-2f2a-469b-85c4-eec3b9c972ba" providerId="ADAL" clId="{F2BB4D5E-E5E5-4B84-8DD9-A7ADA0B72E44}" dt="2022-04-28T10:21:58.399" v="4298" actId="164"/>
          <ac:spMkLst>
            <pc:docMk/>
            <pc:sldMk cId="2680249750" sldId="595"/>
            <ac:spMk id="2" creationId="{0305ABD0-F4F3-40B3-888E-96AF71CB1DA6}"/>
          </ac:spMkLst>
        </pc:spChg>
        <pc:spChg chg="add del mod">
          <ac:chgData name="Thomas Stensitzki" userId="75cafe6b-2f2a-469b-85c4-eec3b9c972ba" providerId="ADAL" clId="{F2BB4D5E-E5E5-4B84-8DD9-A7ADA0B72E44}" dt="2022-04-23T09:49:06.472" v="1284" actId="478"/>
          <ac:spMkLst>
            <pc:docMk/>
            <pc:sldMk cId="2680249750" sldId="595"/>
            <ac:spMk id="3" creationId="{61FBAB31-FA48-4D31-9459-197C2344446C}"/>
          </ac:spMkLst>
        </pc:spChg>
        <pc:spChg chg="del">
          <ac:chgData name="Thomas Stensitzki" userId="75cafe6b-2f2a-469b-85c4-eec3b9c972ba" providerId="ADAL" clId="{F2BB4D5E-E5E5-4B84-8DD9-A7ADA0B72E44}" dt="2022-04-23T09:49:03.774" v="1283" actId="478"/>
          <ac:spMkLst>
            <pc:docMk/>
            <pc:sldMk cId="2680249750" sldId="595"/>
            <ac:spMk id="5" creationId="{B1886A4C-E9E4-4111-BFDC-F9784FD52406}"/>
          </ac:spMkLst>
        </pc:spChg>
        <pc:spChg chg="add mod">
          <ac:chgData name="Thomas Stensitzki" userId="75cafe6b-2f2a-469b-85c4-eec3b9c972ba" providerId="ADAL" clId="{F2BB4D5E-E5E5-4B84-8DD9-A7ADA0B72E44}" dt="2022-04-24T09:18:44.485" v="2234" actId="1036"/>
          <ac:spMkLst>
            <pc:docMk/>
            <pc:sldMk cId="2680249750" sldId="595"/>
            <ac:spMk id="6" creationId="{03D53420-11EA-4D1B-9F13-CC90F632184E}"/>
          </ac:spMkLst>
        </pc:spChg>
        <pc:spChg chg="add mod">
          <ac:chgData name="Thomas Stensitzki" userId="75cafe6b-2f2a-469b-85c4-eec3b9c972ba" providerId="ADAL" clId="{F2BB4D5E-E5E5-4B84-8DD9-A7ADA0B72E44}" dt="2022-04-24T09:18:44.485" v="2234" actId="1036"/>
          <ac:spMkLst>
            <pc:docMk/>
            <pc:sldMk cId="2680249750" sldId="595"/>
            <ac:spMk id="7" creationId="{36EC7950-C586-452E-8736-1D139437B0BE}"/>
          </ac:spMkLst>
        </pc:spChg>
        <pc:spChg chg="add del mod">
          <ac:chgData name="Thomas Stensitzki" userId="75cafe6b-2f2a-469b-85c4-eec3b9c972ba" providerId="ADAL" clId="{F2BB4D5E-E5E5-4B84-8DD9-A7ADA0B72E44}" dt="2022-04-23T09:51:11.853" v="1339"/>
          <ac:spMkLst>
            <pc:docMk/>
            <pc:sldMk cId="2680249750" sldId="595"/>
            <ac:spMk id="8" creationId="{DC279190-4CB6-480E-AF96-2086CE4B6E5E}"/>
          </ac:spMkLst>
        </pc:spChg>
        <pc:spChg chg="add mod">
          <ac:chgData name="Thomas Stensitzki" userId="75cafe6b-2f2a-469b-85c4-eec3b9c972ba" providerId="ADAL" clId="{F2BB4D5E-E5E5-4B84-8DD9-A7ADA0B72E44}" dt="2022-04-24T09:18:44.485" v="2234" actId="1036"/>
          <ac:spMkLst>
            <pc:docMk/>
            <pc:sldMk cId="2680249750" sldId="595"/>
            <ac:spMk id="9" creationId="{183E4717-94DF-47D2-9915-B0740BADCA26}"/>
          </ac:spMkLst>
        </pc:spChg>
        <pc:spChg chg="add mod">
          <ac:chgData name="Thomas Stensitzki" userId="75cafe6b-2f2a-469b-85c4-eec3b9c972ba" providerId="ADAL" clId="{F2BB4D5E-E5E5-4B84-8DD9-A7ADA0B72E44}" dt="2022-04-24T09:18:44.485" v="2234" actId="1036"/>
          <ac:spMkLst>
            <pc:docMk/>
            <pc:sldMk cId="2680249750" sldId="595"/>
            <ac:spMk id="10" creationId="{8A0EDB2A-C407-4ACD-AABF-052E3018BAAE}"/>
          </ac:spMkLst>
        </pc:spChg>
        <pc:spChg chg="add del mod">
          <ac:chgData name="Thomas Stensitzki" userId="75cafe6b-2f2a-469b-85c4-eec3b9c972ba" providerId="ADAL" clId="{F2BB4D5E-E5E5-4B84-8DD9-A7ADA0B72E44}" dt="2022-04-24T09:13:03.995" v="1861" actId="478"/>
          <ac:spMkLst>
            <pc:docMk/>
            <pc:sldMk cId="2680249750" sldId="595"/>
            <ac:spMk id="12" creationId="{201D08FE-49C1-4893-90AF-1C661654B5B8}"/>
          </ac:spMkLst>
        </pc:spChg>
        <pc:spChg chg="add mod">
          <ac:chgData name="Thomas Stensitzki" userId="75cafe6b-2f2a-469b-85c4-eec3b9c972ba" providerId="ADAL" clId="{F2BB4D5E-E5E5-4B84-8DD9-A7ADA0B72E44}" dt="2022-04-24T09:20:03.658" v="2321" actId="20577"/>
          <ac:spMkLst>
            <pc:docMk/>
            <pc:sldMk cId="2680249750" sldId="595"/>
            <ac:spMk id="13" creationId="{5436A935-FA84-4846-93E7-93CEFA5AC377}"/>
          </ac:spMkLst>
        </pc:spChg>
        <pc:spChg chg="add mod">
          <ac:chgData name="Thomas Stensitzki" userId="75cafe6b-2f2a-469b-85c4-eec3b9c972ba" providerId="ADAL" clId="{F2BB4D5E-E5E5-4B84-8DD9-A7ADA0B72E44}" dt="2022-04-24T09:19:22.972" v="2289" actId="20577"/>
          <ac:spMkLst>
            <pc:docMk/>
            <pc:sldMk cId="2680249750" sldId="595"/>
            <ac:spMk id="14" creationId="{ED18F35C-CF61-4A9F-B2C4-B61A27B06582}"/>
          </ac:spMkLst>
        </pc:spChg>
        <pc:grpChg chg="add mod">
          <ac:chgData name="Thomas Stensitzki" userId="75cafe6b-2f2a-469b-85c4-eec3b9c972ba" providerId="ADAL" clId="{F2BB4D5E-E5E5-4B84-8DD9-A7ADA0B72E44}" dt="2022-04-28T10:21:58.399" v="4298" actId="164"/>
          <ac:grpSpMkLst>
            <pc:docMk/>
            <pc:sldMk cId="2680249750" sldId="595"/>
            <ac:grpSpMk id="3" creationId="{1B6F79AA-927D-43E6-A2D1-0ADCE97350FB}"/>
          </ac:grpSpMkLst>
        </pc:grpChg>
        <pc:graphicFrameChg chg="add mod modGraphic">
          <ac:chgData name="Thomas Stensitzki" userId="75cafe6b-2f2a-469b-85c4-eec3b9c972ba" providerId="ADAL" clId="{F2BB4D5E-E5E5-4B84-8DD9-A7ADA0B72E44}" dt="2022-04-28T10:21:58.399" v="4298" actId="164"/>
          <ac:graphicFrameMkLst>
            <pc:docMk/>
            <pc:sldMk cId="2680249750" sldId="595"/>
            <ac:graphicFrameMk id="11" creationId="{9F43C456-1D14-46BE-935A-666D21EDBB94}"/>
          </ac:graphicFrameMkLst>
        </pc:graphicFrameChg>
      </pc:sldChg>
      <pc:sldChg chg="modSp add mod ord modTransition">
        <pc:chgData name="Thomas Stensitzki" userId="75cafe6b-2f2a-469b-85c4-eec3b9c972ba" providerId="ADAL" clId="{F2BB4D5E-E5E5-4B84-8DD9-A7ADA0B72E44}" dt="2022-04-24T09:40:00.182" v="3780"/>
        <pc:sldMkLst>
          <pc:docMk/>
          <pc:sldMk cId="1109434383" sldId="596"/>
        </pc:sldMkLst>
        <pc:spChg chg="mod">
          <ac:chgData name="Thomas Stensitzki" userId="75cafe6b-2f2a-469b-85c4-eec3b9c972ba" providerId="ADAL" clId="{F2BB4D5E-E5E5-4B84-8DD9-A7ADA0B72E44}" dt="2022-04-23T09:56:57.517" v="1429" actId="20577"/>
          <ac:spMkLst>
            <pc:docMk/>
            <pc:sldMk cId="1109434383" sldId="596"/>
            <ac:spMk id="4" creationId="{041C0BDF-2374-4ACD-9289-35E2F2C5124D}"/>
          </ac:spMkLst>
        </pc:spChg>
        <pc:spChg chg="mod">
          <ac:chgData name="Thomas Stensitzki" userId="75cafe6b-2f2a-469b-85c4-eec3b9c972ba" providerId="ADAL" clId="{F2BB4D5E-E5E5-4B84-8DD9-A7ADA0B72E44}" dt="2022-04-23T09:57:01.592" v="1430" actId="20577"/>
          <ac:spMkLst>
            <pc:docMk/>
            <pc:sldMk cId="1109434383" sldId="596"/>
            <ac:spMk id="5" creationId="{B1886A4C-E9E4-4111-BFDC-F9784FD52406}"/>
          </ac:spMkLst>
        </pc:spChg>
      </pc:sldChg>
      <pc:sldChg chg="del">
        <pc:chgData name="Thomas Stensitzki" userId="75cafe6b-2f2a-469b-85c4-eec3b9c972ba" providerId="ADAL" clId="{F2BB4D5E-E5E5-4B84-8DD9-A7ADA0B72E44}" dt="2022-04-19T12:23:51.426" v="124" actId="47"/>
        <pc:sldMkLst>
          <pc:docMk/>
          <pc:sldMk cId="3273231213" sldId="596"/>
        </pc:sldMkLst>
      </pc:sldChg>
      <pc:sldChg chg="modSp mod modTransition">
        <pc:chgData name="Thomas Stensitzki" userId="75cafe6b-2f2a-469b-85c4-eec3b9c972ba" providerId="ADAL" clId="{F2BB4D5E-E5E5-4B84-8DD9-A7ADA0B72E44}" dt="2022-04-24T09:40:00.182" v="3780"/>
        <pc:sldMkLst>
          <pc:docMk/>
          <pc:sldMk cId="2098288780" sldId="597"/>
        </pc:sldMkLst>
        <pc:spChg chg="mod">
          <ac:chgData name="Thomas Stensitzki" userId="75cafe6b-2f2a-469b-85c4-eec3b9c972ba" providerId="ADAL" clId="{F2BB4D5E-E5E5-4B84-8DD9-A7ADA0B72E44}" dt="2022-04-24T09:20:56.838" v="2361" actId="20577"/>
          <ac:spMkLst>
            <pc:docMk/>
            <pc:sldMk cId="2098288780" sldId="597"/>
            <ac:spMk id="2" creationId="{42DA031A-C25A-9457-35EB-F99DDD69A1A1}"/>
          </ac:spMkLst>
        </pc:spChg>
        <pc:spChg chg="mod">
          <ac:chgData name="Thomas Stensitzki" userId="75cafe6b-2f2a-469b-85c4-eec3b9c972ba" providerId="ADAL" clId="{F2BB4D5E-E5E5-4B84-8DD9-A7ADA0B72E44}" dt="2022-04-24T09:01:42.525" v="1431" actId="790"/>
          <ac:spMkLst>
            <pc:docMk/>
            <pc:sldMk cId="2098288780" sldId="597"/>
            <ac:spMk id="3" creationId="{26C8DA23-4FF8-3D58-B509-BFFD25A330F7}"/>
          </ac:spMkLst>
        </pc:spChg>
      </pc:sldChg>
      <pc:sldChg chg="del">
        <pc:chgData name="Thomas Stensitzki" userId="75cafe6b-2f2a-469b-85c4-eec3b9c972ba" providerId="ADAL" clId="{F2BB4D5E-E5E5-4B84-8DD9-A7ADA0B72E44}" dt="2022-04-19T12:23:51.426" v="124" actId="47"/>
        <pc:sldMkLst>
          <pc:docMk/>
          <pc:sldMk cId="3646966063" sldId="597"/>
        </pc:sldMkLst>
      </pc:sldChg>
      <pc:sldChg chg="modSp mod modTransition">
        <pc:chgData name="Thomas Stensitzki" userId="75cafe6b-2f2a-469b-85c4-eec3b9c972ba" providerId="ADAL" clId="{F2BB4D5E-E5E5-4B84-8DD9-A7ADA0B72E44}" dt="2022-04-24T09:40:00.182" v="3780"/>
        <pc:sldMkLst>
          <pc:docMk/>
          <pc:sldMk cId="2122712351" sldId="598"/>
        </pc:sldMkLst>
        <pc:spChg chg="mod">
          <ac:chgData name="Thomas Stensitzki" userId="75cafe6b-2f2a-469b-85c4-eec3b9c972ba" providerId="ADAL" clId="{F2BB4D5E-E5E5-4B84-8DD9-A7ADA0B72E44}" dt="2022-04-24T09:09:14.024" v="1603" actId="790"/>
          <ac:spMkLst>
            <pc:docMk/>
            <pc:sldMk cId="2122712351" sldId="598"/>
            <ac:spMk id="2" creationId="{1BC691DD-DCF8-E22A-F993-2C3F954C9BA6}"/>
          </ac:spMkLst>
        </pc:spChg>
        <pc:spChg chg="mod">
          <ac:chgData name="Thomas Stensitzki" userId="75cafe6b-2f2a-469b-85c4-eec3b9c972ba" providerId="ADAL" clId="{F2BB4D5E-E5E5-4B84-8DD9-A7ADA0B72E44}" dt="2022-04-24T09:11:03.792" v="1816" actId="20577"/>
          <ac:spMkLst>
            <pc:docMk/>
            <pc:sldMk cId="2122712351" sldId="598"/>
            <ac:spMk id="3" creationId="{A854A4AE-7847-857F-6D74-A4294BB78EE3}"/>
          </ac:spMkLst>
        </pc:spChg>
      </pc:sldChg>
      <pc:sldChg chg="del">
        <pc:chgData name="Thomas Stensitzki" userId="75cafe6b-2f2a-469b-85c4-eec3b9c972ba" providerId="ADAL" clId="{F2BB4D5E-E5E5-4B84-8DD9-A7ADA0B72E44}" dt="2022-04-19T12:23:51.426" v="124" actId="47"/>
        <pc:sldMkLst>
          <pc:docMk/>
          <pc:sldMk cId="2538300061" sldId="598"/>
        </pc:sldMkLst>
      </pc:sldChg>
      <pc:sldChg chg="modSp add mod modTransition">
        <pc:chgData name="Thomas Stensitzki" userId="75cafe6b-2f2a-469b-85c4-eec3b9c972ba" providerId="ADAL" clId="{F2BB4D5E-E5E5-4B84-8DD9-A7ADA0B72E44}" dt="2022-04-24T09:40:00.182" v="3780"/>
        <pc:sldMkLst>
          <pc:docMk/>
          <pc:sldMk cId="1914820320" sldId="599"/>
        </pc:sldMkLst>
        <pc:spChg chg="mod">
          <ac:chgData name="Thomas Stensitzki" userId="75cafe6b-2f2a-469b-85c4-eec3b9c972ba" providerId="ADAL" clId="{F2BB4D5E-E5E5-4B84-8DD9-A7ADA0B72E44}" dt="2022-04-24T09:08:35.906" v="1600" actId="20577"/>
          <ac:spMkLst>
            <pc:docMk/>
            <pc:sldMk cId="1914820320" sldId="599"/>
            <ac:spMk id="2" creationId="{1BC691DD-DCF8-E22A-F993-2C3F954C9BA6}"/>
          </ac:spMkLst>
        </pc:spChg>
        <pc:spChg chg="mod">
          <ac:chgData name="Thomas Stensitzki" userId="75cafe6b-2f2a-469b-85c4-eec3b9c972ba" providerId="ADAL" clId="{F2BB4D5E-E5E5-4B84-8DD9-A7ADA0B72E44}" dt="2022-04-24T09:25:14.890" v="2635" actId="20577"/>
          <ac:spMkLst>
            <pc:docMk/>
            <pc:sldMk cId="1914820320" sldId="599"/>
            <ac:spMk id="3" creationId="{A854A4AE-7847-857F-6D74-A4294BB78EE3}"/>
          </ac:spMkLst>
        </pc:spChg>
      </pc:sldChg>
      <pc:sldChg chg="del">
        <pc:chgData name="Thomas Stensitzki" userId="75cafe6b-2f2a-469b-85c4-eec3b9c972ba" providerId="ADAL" clId="{F2BB4D5E-E5E5-4B84-8DD9-A7ADA0B72E44}" dt="2022-04-19T12:23:51.426" v="124" actId="47"/>
        <pc:sldMkLst>
          <pc:docMk/>
          <pc:sldMk cId="2905309205" sldId="599"/>
        </pc:sldMkLst>
      </pc:sldChg>
      <pc:sldChg chg="del">
        <pc:chgData name="Thomas Stensitzki" userId="75cafe6b-2f2a-469b-85c4-eec3b9c972ba" providerId="ADAL" clId="{F2BB4D5E-E5E5-4B84-8DD9-A7ADA0B72E44}" dt="2022-04-19T12:23:51.426" v="124" actId="47"/>
        <pc:sldMkLst>
          <pc:docMk/>
          <pc:sldMk cId="2549681173" sldId="600"/>
        </pc:sldMkLst>
      </pc:sldChg>
      <pc:sldChg chg="addSp delSp modSp add mod modTransition modAnim">
        <pc:chgData name="Thomas Stensitzki" userId="75cafe6b-2f2a-469b-85c4-eec3b9c972ba" providerId="ADAL" clId="{F2BB4D5E-E5E5-4B84-8DD9-A7ADA0B72E44}" dt="2022-04-28T17:04:34.292" v="4323" actId="20577"/>
        <pc:sldMkLst>
          <pc:docMk/>
          <pc:sldMk cId="3219683340" sldId="600"/>
        </pc:sldMkLst>
        <pc:spChg chg="mod">
          <ac:chgData name="Thomas Stensitzki" userId="75cafe6b-2f2a-469b-85c4-eec3b9c972ba" providerId="ADAL" clId="{F2BB4D5E-E5E5-4B84-8DD9-A7ADA0B72E44}" dt="2022-04-24T09:20:49.683" v="2351" actId="20577"/>
          <ac:spMkLst>
            <pc:docMk/>
            <pc:sldMk cId="3219683340" sldId="600"/>
            <ac:spMk id="2" creationId="{42DA031A-C25A-9457-35EB-F99DDD69A1A1}"/>
          </ac:spMkLst>
        </pc:spChg>
        <pc:spChg chg="mod">
          <ac:chgData name="Thomas Stensitzki" userId="75cafe6b-2f2a-469b-85c4-eec3b9c972ba" providerId="ADAL" clId="{F2BB4D5E-E5E5-4B84-8DD9-A7ADA0B72E44}" dt="2022-04-24T09:27:28.247" v="2835" actId="20577"/>
          <ac:spMkLst>
            <pc:docMk/>
            <pc:sldMk cId="3219683340" sldId="600"/>
            <ac:spMk id="3" creationId="{26C8DA23-4FF8-3D58-B509-BFFD25A330F7}"/>
          </ac:spMkLst>
        </pc:spChg>
        <pc:spChg chg="add mod">
          <ac:chgData name="Thomas Stensitzki" userId="75cafe6b-2f2a-469b-85c4-eec3b9c972ba" providerId="ADAL" clId="{F2BB4D5E-E5E5-4B84-8DD9-A7ADA0B72E44}" dt="2022-04-26T16:08:42.422" v="3885" actId="113"/>
          <ac:spMkLst>
            <pc:docMk/>
            <pc:sldMk cId="3219683340" sldId="600"/>
            <ac:spMk id="18" creationId="{FDB045ED-2681-481D-8BBB-0339D5F1B98E}"/>
          </ac:spMkLst>
        </pc:spChg>
        <pc:spChg chg="add mod">
          <ac:chgData name="Thomas Stensitzki" userId="75cafe6b-2f2a-469b-85c4-eec3b9c972ba" providerId="ADAL" clId="{F2BB4D5E-E5E5-4B84-8DD9-A7ADA0B72E44}" dt="2022-04-26T16:11:05.177" v="3915" actId="1076"/>
          <ac:spMkLst>
            <pc:docMk/>
            <pc:sldMk cId="3219683340" sldId="600"/>
            <ac:spMk id="29" creationId="{D2DABD96-B1CE-4872-A5A0-009CFD4E1BC2}"/>
          </ac:spMkLst>
        </pc:spChg>
        <pc:spChg chg="add mod">
          <ac:chgData name="Thomas Stensitzki" userId="75cafe6b-2f2a-469b-85c4-eec3b9c972ba" providerId="ADAL" clId="{F2BB4D5E-E5E5-4B84-8DD9-A7ADA0B72E44}" dt="2022-04-26T16:12:52.700" v="3967" actId="1076"/>
          <ac:spMkLst>
            <pc:docMk/>
            <pc:sldMk cId="3219683340" sldId="600"/>
            <ac:spMk id="37" creationId="{EE080D15-584F-461D-967A-C749B5321AE9}"/>
          </ac:spMkLst>
        </pc:spChg>
        <pc:spChg chg="add mod">
          <ac:chgData name="Thomas Stensitzki" userId="75cafe6b-2f2a-469b-85c4-eec3b9c972ba" providerId="ADAL" clId="{F2BB4D5E-E5E5-4B84-8DD9-A7ADA0B72E44}" dt="2022-04-28T17:04:34.292" v="4323" actId="20577"/>
          <ac:spMkLst>
            <pc:docMk/>
            <pc:sldMk cId="3219683340" sldId="600"/>
            <ac:spMk id="38" creationId="{49475427-8FDB-4757-B791-1CEB498582EC}"/>
          </ac:spMkLst>
        </pc:spChg>
        <pc:spChg chg="add mod">
          <ac:chgData name="Thomas Stensitzki" userId="75cafe6b-2f2a-469b-85c4-eec3b9c972ba" providerId="ADAL" clId="{F2BB4D5E-E5E5-4B84-8DD9-A7ADA0B72E44}" dt="2022-04-26T16:31:49.342" v="4137" actId="1036"/>
          <ac:spMkLst>
            <pc:docMk/>
            <pc:sldMk cId="3219683340" sldId="600"/>
            <ac:spMk id="39" creationId="{1AD36E6D-E52B-4438-9D5C-0D8A9391F67D}"/>
          </ac:spMkLst>
        </pc:spChg>
        <pc:spChg chg="add del mod">
          <ac:chgData name="Thomas Stensitzki" userId="75cafe6b-2f2a-469b-85c4-eec3b9c972ba" providerId="ADAL" clId="{F2BB4D5E-E5E5-4B84-8DD9-A7ADA0B72E44}" dt="2022-04-26T16:15:02.071" v="4028" actId="478"/>
          <ac:spMkLst>
            <pc:docMk/>
            <pc:sldMk cId="3219683340" sldId="600"/>
            <ac:spMk id="40" creationId="{13C8E47B-71DE-48EA-BC7F-6D61DA2E9505}"/>
          </ac:spMkLst>
        </pc:spChg>
        <pc:picChg chg="add mod">
          <ac:chgData name="Thomas Stensitzki" userId="75cafe6b-2f2a-469b-85c4-eec3b9c972ba" providerId="ADAL" clId="{F2BB4D5E-E5E5-4B84-8DD9-A7ADA0B72E44}" dt="2022-04-26T16:31:46.083" v="4136" actId="1076"/>
          <ac:picMkLst>
            <pc:docMk/>
            <pc:sldMk cId="3219683340" sldId="600"/>
            <ac:picMk id="5" creationId="{52C17E62-62C2-4B6E-86D0-CD6B4B3C6000}"/>
          </ac:picMkLst>
        </pc:picChg>
        <pc:picChg chg="add mod">
          <ac:chgData name="Thomas Stensitzki" userId="75cafe6b-2f2a-469b-85c4-eec3b9c972ba" providerId="ADAL" clId="{F2BB4D5E-E5E5-4B84-8DD9-A7ADA0B72E44}" dt="2022-04-26T16:10:06.885" v="3897" actId="1076"/>
          <ac:picMkLst>
            <pc:docMk/>
            <pc:sldMk cId="3219683340" sldId="600"/>
            <ac:picMk id="10" creationId="{E06AFBDC-4342-4723-B07C-85B0BDA87245}"/>
          </ac:picMkLst>
        </pc:picChg>
        <pc:picChg chg="add mod">
          <ac:chgData name="Thomas Stensitzki" userId="75cafe6b-2f2a-469b-85c4-eec3b9c972ba" providerId="ADAL" clId="{F2BB4D5E-E5E5-4B84-8DD9-A7ADA0B72E44}" dt="2022-04-26T16:08:05.774" v="3855" actId="1036"/>
          <ac:picMkLst>
            <pc:docMk/>
            <pc:sldMk cId="3219683340" sldId="600"/>
            <ac:picMk id="12" creationId="{5E5EC498-0101-4C86-9E53-C81AA49E093C}"/>
          </ac:picMkLst>
        </pc:picChg>
        <pc:picChg chg="add mod">
          <ac:chgData name="Thomas Stensitzki" userId="75cafe6b-2f2a-469b-85c4-eec3b9c972ba" providerId="ADAL" clId="{F2BB4D5E-E5E5-4B84-8DD9-A7ADA0B72E44}" dt="2022-04-26T16:08:05.774" v="3855" actId="1036"/>
          <ac:picMkLst>
            <pc:docMk/>
            <pc:sldMk cId="3219683340" sldId="600"/>
            <ac:picMk id="13" creationId="{FFAC5EDB-2A19-4E38-A455-9501E594F3A5}"/>
          </ac:picMkLst>
        </pc:picChg>
        <pc:picChg chg="add mod ord">
          <ac:chgData name="Thomas Stensitzki" userId="75cafe6b-2f2a-469b-85c4-eec3b9c972ba" providerId="ADAL" clId="{F2BB4D5E-E5E5-4B84-8DD9-A7ADA0B72E44}" dt="2022-04-26T16:11:18.612" v="3919" actId="1076"/>
          <ac:picMkLst>
            <pc:docMk/>
            <pc:sldMk cId="3219683340" sldId="600"/>
            <ac:picMk id="15" creationId="{AA7863BC-88E9-4263-B10B-5101AA1FD56E}"/>
          </ac:picMkLst>
        </pc:picChg>
        <pc:picChg chg="add mod">
          <ac:chgData name="Thomas Stensitzki" userId="75cafe6b-2f2a-469b-85c4-eec3b9c972ba" providerId="ADAL" clId="{F2BB4D5E-E5E5-4B84-8DD9-A7ADA0B72E44}" dt="2022-04-26T16:11:27.848" v="3920" actId="1076"/>
          <ac:picMkLst>
            <pc:docMk/>
            <pc:sldMk cId="3219683340" sldId="600"/>
            <ac:picMk id="17" creationId="{C9E57623-EEB5-47C8-8F2F-DD87A118B7B5}"/>
          </ac:picMkLst>
        </pc:picChg>
        <pc:picChg chg="add mod">
          <ac:chgData name="Thomas Stensitzki" userId="75cafe6b-2f2a-469b-85c4-eec3b9c972ba" providerId="ADAL" clId="{F2BB4D5E-E5E5-4B84-8DD9-A7ADA0B72E44}" dt="2022-04-26T16:10:11.545" v="3908" actId="1036"/>
          <ac:picMkLst>
            <pc:docMk/>
            <pc:sldMk cId="3219683340" sldId="600"/>
            <ac:picMk id="22" creationId="{EF0DC9B3-DBD4-4BDF-94AD-472B2754B9BF}"/>
          </ac:picMkLst>
        </pc:picChg>
        <pc:picChg chg="add mod">
          <ac:chgData name="Thomas Stensitzki" userId="75cafe6b-2f2a-469b-85c4-eec3b9c972ba" providerId="ADAL" clId="{F2BB4D5E-E5E5-4B84-8DD9-A7ADA0B72E44}" dt="2022-04-26T16:11:40.300" v="3922" actId="1076"/>
          <ac:picMkLst>
            <pc:docMk/>
            <pc:sldMk cId="3219683340" sldId="600"/>
            <ac:picMk id="31" creationId="{610E0D5C-D285-4EE7-98BD-6CE5FA364D82}"/>
          </ac:picMkLst>
        </pc:picChg>
        <pc:picChg chg="add mod">
          <ac:chgData name="Thomas Stensitzki" userId="75cafe6b-2f2a-469b-85c4-eec3b9c972ba" providerId="ADAL" clId="{F2BB4D5E-E5E5-4B84-8DD9-A7ADA0B72E44}" dt="2022-04-26T16:11:46.159" v="3924" actId="1076"/>
          <ac:picMkLst>
            <pc:docMk/>
            <pc:sldMk cId="3219683340" sldId="600"/>
            <ac:picMk id="32" creationId="{18B07C87-7953-45F8-9C75-BDC8022C9ADD}"/>
          </ac:picMkLst>
        </pc:picChg>
        <pc:picChg chg="add mod">
          <ac:chgData name="Thomas Stensitzki" userId="75cafe6b-2f2a-469b-85c4-eec3b9c972ba" providerId="ADAL" clId="{F2BB4D5E-E5E5-4B84-8DD9-A7ADA0B72E44}" dt="2022-04-26T16:12:05.420" v="3926" actId="1076"/>
          <ac:picMkLst>
            <pc:docMk/>
            <pc:sldMk cId="3219683340" sldId="600"/>
            <ac:picMk id="33" creationId="{DF6D5843-3474-443F-969C-A0FC232D3FCC}"/>
          </ac:picMkLst>
        </pc:picChg>
        <pc:picChg chg="add mod">
          <ac:chgData name="Thomas Stensitzki" userId="75cafe6b-2f2a-469b-85c4-eec3b9c972ba" providerId="ADAL" clId="{F2BB4D5E-E5E5-4B84-8DD9-A7ADA0B72E44}" dt="2022-04-26T16:20:34.383" v="4049" actId="1076"/>
          <ac:picMkLst>
            <pc:docMk/>
            <pc:sldMk cId="3219683340" sldId="600"/>
            <ac:picMk id="42" creationId="{B459E22E-519F-436D-A34C-9FD7F69EEF6B}"/>
          </ac:picMkLst>
        </pc:picChg>
        <pc:picChg chg="add mod">
          <ac:chgData name="Thomas Stensitzki" userId="75cafe6b-2f2a-469b-85c4-eec3b9c972ba" providerId="ADAL" clId="{F2BB4D5E-E5E5-4B84-8DD9-A7ADA0B72E44}" dt="2022-04-26T16:29:08.914" v="4052" actId="1076"/>
          <ac:picMkLst>
            <pc:docMk/>
            <pc:sldMk cId="3219683340" sldId="600"/>
            <ac:picMk id="44" creationId="{D6762ACE-9B89-4EEE-94DC-33317C79FAC5}"/>
          </ac:picMkLst>
        </pc:picChg>
        <pc:picChg chg="add mod">
          <ac:chgData name="Thomas Stensitzki" userId="75cafe6b-2f2a-469b-85c4-eec3b9c972ba" providerId="ADAL" clId="{F2BB4D5E-E5E5-4B84-8DD9-A7ADA0B72E44}" dt="2022-04-26T16:30:40.388" v="4128" actId="1076"/>
          <ac:picMkLst>
            <pc:docMk/>
            <pc:sldMk cId="3219683340" sldId="600"/>
            <ac:picMk id="46" creationId="{379292BE-A069-41D6-91EE-DB566DBD9729}"/>
          </ac:picMkLst>
        </pc:picChg>
        <pc:picChg chg="add mod">
          <ac:chgData name="Thomas Stensitzki" userId="75cafe6b-2f2a-469b-85c4-eec3b9c972ba" providerId="ADAL" clId="{F2BB4D5E-E5E5-4B84-8DD9-A7ADA0B72E44}" dt="2022-04-26T16:31:21.970" v="4131" actId="1076"/>
          <ac:picMkLst>
            <pc:docMk/>
            <pc:sldMk cId="3219683340" sldId="600"/>
            <ac:picMk id="48" creationId="{4B1566AC-B7DD-4B3E-AA51-E72E150F462E}"/>
          </ac:picMkLst>
        </pc:picChg>
        <pc:cxnChg chg="add mod">
          <ac:chgData name="Thomas Stensitzki" userId="75cafe6b-2f2a-469b-85c4-eec3b9c972ba" providerId="ADAL" clId="{F2BB4D5E-E5E5-4B84-8DD9-A7ADA0B72E44}" dt="2022-04-26T16:10:06.885" v="3897" actId="1076"/>
          <ac:cxnSpMkLst>
            <pc:docMk/>
            <pc:sldMk cId="3219683340" sldId="600"/>
            <ac:cxnSpMk id="20" creationId="{3F4C711B-3BF8-4242-8089-B99CD41EDA3A}"/>
          </ac:cxnSpMkLst>
        </pc:cxnChg>
        <pc:cxnChg chg="add mod">
          <ac:chgData name="Thomas Stensitzki" userId="75cafe6b-2f2a-469b-85c4-eec3b9c972ba" providerId="ADAL" clId="{F2BB4D5E-E5E5-4B84-8DD9-A7ADA0B72E44}" dt="2022-04-26T16:11:10.231" v="3916" actId="14100"/>
          <ac:cxnSpMkLst>
            <pc:docMk/>
            <pc:sldMk cId="3219683340" sldId="600"/>
            <ac:cxnSpMk id="25" creationId="{5F2D803D-2CAD-410F-A215-83FA65E26555}"/>
          </ac:cxnSpMkLst>
        </pc:cxnChg>
        <pc:cxnChg chg="add mod">
          <ac:chgData name="Thomas Stensitzki" userId="75cafe6b-2f2a-469b-85c4-eec3b9c972ba" providerId="ADAL" clId="{F2BB4D5E-E5E5-4B84-8DD9-A7ADA0B72E44}" dt="2022-04-28T08:46:50.892" v="4144" actId="14100"/>
          <ac:cxnSpMkLst>
            <pc:docMk/>
            <pc:sldMk cId="3219683340" sldId="600"/>
            <ac:cxnSpMk id="30" creationId="{9CF5BA9F-21B1-442D-8288-1C9DC04C5BAF}"/>
          </ac:cxnSpMkLst>
        </pc:cxnChg>
        <pc:cxnChg chg="add mod">
          <ac:chgData name="Thomas Stensitzki" userId="75cafe6b-2f2a-469b-85c4-eec3b9c972ba" providerId="ADAL" clId="{F2BB4D5E-E5E5-4B84-8DD9-A7ADA0B72E44}" dt="2022-04-26T16:12:16.134" v="3930" actId="14100"/>
          <ac:cxnSpMkLst>
            <pc:docMk/>
            <pc:sldMk cId="3219683340" sldId="600"/>
            <ac:cxnSpMk id="34" creationId="{B557A335-2875-4546-A6FF-9E8841BB6885}"/>
          </ac:cxnSpMkLst>
        </pc:cxnChg>
        <pc:cxnChg chg="add mod">
          <ac:chgData name="Thomas Stensitzki" userId="75cafe6b-2f2a-469b-85c4-eec3b9c972ba" providerId="ADAL" clId="{F2BB4D5E-E5E5-4B84-8DD9-A7ADA0B72E44}" dt="2022-04-28T08:47:10.367" v="4148" actId="14100"/>
          <ac:cxnSpMkLst>
            <pc:docMk/>
            <pc:sldMk cId="3219683340" sldId="600"/>
            <ac:cxnSpMk id="35" creationId="{9763E9DC-0775-4C7E-8D72-C38312BC7AAE}"/>
          </ac:cxnSpMkLst>
        </pc:cxnChg>
        <pc:cxnChg chg="add mod">
          <ac:chgData name="Thomas Stensitzki" userId="75cafe6b-2f2a-469b-85c4-eec3b9c972ba" providerId="ADAL" clId="{F2BB4D5E-E5E5-4B84-8DD9-A7ADA0B72E44}" dt="2022-04-28T08:47:27.848" v="4152" actId="33986"/>
          <ac:cxnSpMkLst>
            <pc:docMk/>
            <pc:sldMk cId="3219683340" sldId="600"/>
            <ac:cxnSpMk id="40" creationId="{67EEAFAD-5939-4056-B8FC-7F629E76E079}"/>
          </ac:cxnSpMkLst>
        </pc:cxnChg>
        <pc:cxnChg chg="add mod">
          <ac:chgData name="Thomas Stensitzki" userId="75cafe6b-2f2a-469b-85c4-eec3b9c972ba" providerId="ADAL" clId="{F2BB4D5E-E5E5-4B84-8DD9-A7ADA0B72E44}" dt="2022-04-26T16:31:46.083" v="4136" actId="1076"/>
          <ac:cxnSpMkLst>
            <pc:docMk/>
            <pc:sldMk cId="3219683340" sldId="600"/>
            <ac:cxnSpMk id="49" creationId="{23E54E31-7CF6-45C0-85FB-97E48F8560BC}"/>
          </ac:cxnSpMkLst>
        </pc:cxnChg>
      </pc:sldChg>
      <pc:sldChg chg="del">
        <pc:chgData name="Thomas Stensitzki" userId="75cafe6b-2f2a-469b-85c4-eec3b9c972ba" providerId="ADAL" clId="{F2BB4D5E-E5E5-4B84-8DD9-A7ADA0B72E44}" dt="2022-04-19T12:23:51.426" v="124" actId="47"/>
        <pc:sldMkLst>
          <pc:docMk/>
          <pc:sldMk cId="1353242244" sldId="601"/>
        </pc:sldMkLst>
      </pc:sldChg>
      <pc:sldChg chg="addSp delSp modSp add mod modTransition modAnim">
        <pc:chgData name="Thomas Stensitzki" userId="75cafe6b-2f2a-469b-85c4-eec3b9c972ba" providerId="ADAL" clId="{F2BB4D5E-E5E5-4B84-8DD9-A7ADA0B72E44}" dt="2022-04-28T08:48:51.039" v="4156"/>
        <pc:sldMkLst>
          <pc:docMk/>
          <pc:sldMk cId="1699378225" sldId="601"/>
        </pc:sldMkLst>
        <pc:spChg chg="mod">
          <ac:chgData name="Thomas Stensitzki" userId="75cafe6b-2f2a-469b-85c4-eec3b9c972ba" providerId="ADAL" clId="{F2BB4D5E-E5E5-4B84-8DD9-A7ADA0B72E44}" dt="2022-04-24T09:28:39.592" v="2886" actId="20577"/>
          <ac:spMkLst>
            <pc:docMk/>
            <pc:sldMk cId="1699378225" sldId="601"/>
            <ac:spMk id="2" creationId="{1BC691DD-DCF8-E22A-F993-2C3F954C9BA6}"/>
          </ac:spMkLst>
        </pc:spChg>
        <pc:spChg chg="del">
          <ac:chgData name="Thomas Stensitzki" userId="75cafe6b-2f2a-469b-85c4-eec3b9c972ba" providerId="ADAL" clId="{F2BB4D5E-E5E5-4B84-8DD9-A7ADA0B72E44}" dt="2022-04-24T09:28:42.537" v="2887" actId="478"/>
          <ac:spMkLst>
            <pc:docMk/>
            <pc:sldMk cId="1699378225" sldId="601"/>
            <ac:spMk id="3" creationId="{A854A4AE-7847-857F-6D74-A4294BB78EE3}"/>
          </ac:spMkLst>
        </pc:spChg>
        <pc:spChg chg="add del mod">
          <ac:chgData name="Thomas Stensitzki" userId="75cafe6b-2f2a-469b-85c4-eec3b9c972ba" providerId="ADAL" clId="{F2BB4D5E-E5E5-4B84-8DD9-A7ADA0B72E44}" dt="2022-04-24T09:28:44.272" v="2888" actId="478"/>
          <ac:spMkLst>
            <pc:docMk/>
            <pc:sldMk cId="1699378225" sldId="601"/>
            <ac:spMk id="5" creationId="{D0DA9F89-12F6-4F58-AB4D-D818EDA63B4B}"/>
          </ac:spMkLst>
        </pc:spChg>
        <pc:graphicFrameChg chg="add mod">
          <ac:chgData name="Thomas Stensitzki" userId="75cafe6b-2f2a-469b-85c4-eec3b9c972ba" providerId="ADAL" clId="{F2BB4D5E-E5E5-4B84-8DD9-A7ADA0B72E44}" dt="2022-04-24T09:38:44.523" v="3707" actId="12269"/>
          <ac:graphicFrameMkLst>
            <pc:docMk/>
            <pc:sldMk cId="1699378225" sldId="601"/>
            <ac:graphicFrameMk id="6" creationId="{D1D96EDD-D275-4A9A-99C4-336903FE38B5}"/>
          </ac:graphicFrameMkLst>
        </pc:graphicFrameChg>
      </pc:sldChg>
      <pc:sldChg chg="addSp delSp modSp new mod modTransition modClrScheme modAnim chgLayout">
        <pc:chgData name="Thomas Stensitzki" userId="75cafe6b-2f2a-469b-85c4-eec3b9c972ba" providerId="ADAL" clId="{F2BB4D5E-E5E5-4B84-8DD9-A7ADA0B72E44}" dt="2022-04-24T09:40:07.481" v="3781"/>
        <pc:sldMkLst>
          <pc:docMk/>
          <pc:sldMk cId="131291966" sldId="602"/>
        </pc:sldMkLst>
        <pc:spChg chg="del mod ord">
          <ac:chgData name="Thomas Stensitzki" userId="75cafe6b-2f2a-469b-85c4-eec3b9c972ba" providerId="ADAL" clId="{F2BB4D5E-E5E5-4B84-8DD9-A7ADA0B72E44}" dt="2022-04-24T09:39:18.674" v="3709" actId="700"/>
          <ac:spMkLst>
            <pc:docMk/>
            <pc:sldMk cId="131291966" sldId="602"/>
            <ac:spMk id="2" creationId="{453DDC64-D0AE-4863-BD9E-DCA859A57142}"/>
          </ac:spMkLst>
        </pc:spChg>
        <pc:spChg chg="del mod ord">
          <ac:chgData name="Thomas Stensitzki" userId="75cafe6b-2f2a-469b-85c4-eec3b9c972ba" providerId="ADAL" clId="{F2BB4D5E-E5E5-4B84-8DD9-A7ADA0B72E44}" dt="2022-04-24T09:39:18.674" v="3709" actId="700"/>
          <ac:spMkLst>
            <pc:docMk/>
            <pc:sldMk cId="131291966" sldId="602"/>
            <ac:spMk id="3" creationId="{888D0467-D9F9-4D05-A2C3-26242D461863}"/>
          </ac:spMkLst>
        </pc:spChg>
        <pc:spChg chg="add mod ord">
          <ac:chgData name="Thomas Stensitzki" userId="75cafe6b-2f2a-469b-85c4-eec3b9c972ba" providerId="ADAL" clId="{F2BB4D5E-E5E5-4B84-8DD9-A7ADA0B72E44}" dt="2022-04-24T09:39:50.499" v="3779" actId="20577"/>
          <ac:spMkLst>
            <pc:docMk/>
            <pc:sldMk cId="131291966" sldId="602"/>
            <ac:spMk id="4" creationId="{6C908133-7121-4AFA-B3AD-60A9B860C54F}"/>
          </ac:spMkLst>
        </pc:spChg>
        <pc:spChg chg="add mod ord">
          <ac:chgData name="Thomas Stensitzki" userId="75cafe6b-2f2a-469b-85c4-eec3b9c972ba" providerId="ADAL" clId="{F2BB4D5E-E5E5-4B84-8DD9-A7ADA0B72E44}" dt="2022-04-24T09:39:18.674" v="3709" actId="700"/>
          <ac:spMkLst>
            <pc:docMk/>
            <pc:sldMk cId="131291966" sldId="602"/>
            <ac:spMk id="5" creationId="{4FF62253-DB41-4277-974D-4E59CB549435}"/>
          </ac:spMkLst>
        </pc:spChg>
      </pc:sldChg>
      <pc:sldChg chg="del">
        <pc:chgData name="Thomas Stensitzki" userId="75cafe6b-2f2a-469b-85c4-eec3b9c972ba" providerId="ADAL" clId="{F2BB4D5E-E5E5-4B84-8DD9-A7ADA0B72E44}" dt="2022-04-19T12:23:51.426" v="124" actId="47"/>
        <pc:sldMkLst>
          <pc:docMk/>
          <pc:sldMk cId="1032519195" sldId="602"/>
        </pc:sldMkLst>
      </pc:sldChg>
      <pc:sldChg chg="del">
        <pc:chgData name="Thomas Stensitzki" userId="75cafe6b-2f2a-469b-85c4-eec3b9c972ba" providerId="ADAL" clId="{F2BB4D5E-E5E5-4B84-8DD9-A7ADA0B72E44}" dt="2022-04-19T12:23:51.426" v="124" actId="47"/>
        <pc:sldMkLst>
          <pc:docMk/>
          <pc:sldMk cId="167954962" sldId="603"/>
        </pc:sldMkLst>
      </pc:sldChg>
      <pc:sldChg chg="del">
        <pc:chgData name="Thomas Stensitzki" userId="75cafe6b-2f2a-469b-85c4-eec3b9c972ba" providerId="ADAL" clId="{F2BB4D5E-E5E5-4B84-8DD9-A7ADA0B72E44}" dt="2022-04-19T12:23:55.448" v="125" actId="47"/>
        <pc:sldMkLst>
          <pc:docMk/>
          <pc:sldMk cId="1319860976" sldId="604"/>
        </pc:sldMkLst>
      </pc:sldChg>
      <pc:sldChg chg="modSp mod">
        <pc:chgData name="Thomas Stensitzki" userId="75cafe6b-2f2a-469b-85c4-eec3b9c972ba" providerId="ADAL" clId="{F2BB4D5E-E5E5-4B84-8DD9-A7ADA0B72E44}" dt="2022-04-28T17:45:02.566" v="4337" actId="20577"/>
        <pc:sldMkLst>
          <pc:docMk/>
          <pc:sldMk cId="4098706796" sldId="604"/>
        </pc:sldMkLst>
        <pc:spChg chg="mod">
          <ac:chgData name="Thomas Stensitzki" userId="75cafe6b-2f2a-469b-85c4-eec3b9c972ba" providerId="ADAL" clId="{F2BB4D5E-E5E5-4B84-8DD9-A7ADA0B72E44}" dt="2022-04-28T17:45:02.566" v="4337" actId="20577"/>
          <ac:spMkLst>
            <pc:docMk/>
            <pc:sldMk cId="4098706796" sldId="604"/>
            <ac:spMk id="3" creationId="{26C8DA23-4FF8-3D58-B509-BFFD25A330F7}"/>
          </ac:spMkLst>
        </pc:spChg>
      </pc:sldChg>
      <pc:sldChg chg="del">
        <pc:chgData name="Thomas Stensitzki" userId="75cafe6b-2f2a-469b-85c4-eec3b9c972ba" providerId="ADAL" clId="{F2BB4D5E-E5E5-4B84-8DD9-A7ADA0B72E44}" dt="2022-04-19T12:23:55.448" v="125" actId="47"/>
        <pc:sldMkLst>
          <pc:docMk/>
          <pc:sldMk cId="960196194" sldId="605"/>
        </pc:sldMkLst>
      </pc:sldChg>
      <pc:sldChg chg="modSp mod">
        <pc:chgData name="Thomas Stensitzki" userId="75cafe6b-2f2a-469b-85c4-eec3b9c972ba" providerId="ADAL" clId="{F2BB4D5E-E5E5-4B84-8DD9-A7ADA0B72E44}" dt="2022-05-10T08:03:07.444" v="4346" actId="20577"/>
        <pc:sldMkLst>
          <pc:docMk/>
          <pc:sldMk cId="1856989855" sldId="606"/>
        </pc:sldMkLst>
        <pc:spChg chg="mod">
          <ac:chgData name="Thomas Stensitzki" userId="75cafe6b-2f2a-469b-85c4-eec3b9c972ba" providerId="ADAL" clId="{F2BB4D5E-E5E5-4B84-8DD9-A7ADA0B72E44}" dt="2022-05-10T08:03:07.444" v="4346" actId="20577"/>
          <ac:spMkLst>
            <pc:docMk/>
            <pc:sldMk cId="1856989855" sldId="606"/>
            <ac:spMk id="4" creationId="{F3A15CBD-C746-44A3-A4F0-4898CE2F02E6}"/>
          </ac:spMkLst>
        </pc:spChg>
        <pc:spChg chg="mod">
          <ac:chgData name="Thomas Stensitzki" userId="75cafe6b-2f2a-469b-85c4-eec3b9c972ba" providerId="ADAL" clId="{F2BB4D5E-E5E5-4B84-8DD9-A7ADA0B72E44}" dt="2022-04-28T15:45:24.421" v="4321"/>
          <ac:spMkLst>
            <pc:docMk/>
            <pc:sldMk cId="1856989855" sldId="606"/>
            <ac:spMk id="5" creationId="{F3459BE7-1731-4733-A912-12977C68CFD6}"/>
          </ac:spMkLst>
        </pc:spChg>
      </pc:sldChg>
      <pc:sldChg chg="del">
        <pc:chgData name="Thomas Stensitzki" userId="75cafe6b-2f2a-469b-85c4-eec3b9c972ba" providerId="ADAL" clId="{F2BB4D5E-E5E5-4B84-8DD9-A7ADA0B72E44}" dt="2022-04-19T12:23:57.164" v="126" actId="47"/>
        <pc:sldMkLst>
          <pc:docMk/>
          <pc:sldMk cId="2615993417" sldId="606"/>
        </pc:sldMkLst>
      </pc:sldChg>
      <pc:sldChg chg="del">
        <pc:chgData name="Thomas Stensitzki" userId="75cafe6b-2f2a-469b-85c4-eec3b9c972ba" providerId="ADAL" clId="{F2BB4D5E-E5E5-4B84-8DD9-A7ADA0B72E44}" dt="2022-04-19T12:23:57.164" v="126" actId="47"/>
        <pc:sldMkLst>
          <pc:docMk/>
          <pc:sldMk cId="850732423" sldId="607"/>
        </pc:sldMkLst>
      </pc:sldChg>
      <pc:sldChg chg="addSp delSp modSp new mod modClrScheme chgLayout">
        <pc:chgData name="Thomas Stensitzki" userId="75cafe6b-2f2a-469b-85c4-eec3b9c972ba" providerId="ADAL" clId="{F2BB4D5E-E5E5-4B84-8DD9-A7ADA0B72E44}" dt="2022-04-28T08:54:05.084" v="4297" actId="20577"/>
        <pc:sldMkLst>
          <pc:docMk/>
          <pc:sldMk cId="2410402961" sldId="607"/>
        </pc:sldMkLst>
        <pc:spChg chg="del mod ord">
          <ac:chgData name="Thomas Stensitzki" userId="75cafe6b-2f2a-469b-85c4-eec3b9c972ba" providerId="ADAL" clId="{F2BB4D5E-E5E5-4B84-8DD9-A7ADA0B72E44}" dt="2022-04-28T08:49:35.737" v="4158" actId="700"/>
          <ac:spMkLst>
            <pc:docMk/>
            <pc:sldMk cId="2410402961" sldId="607"/>
            <ac:spMk id="2" creationId="{EAA57030-8230-4720-9359-7C909643D015}"/>
          </ac:spMkLst>
        </pc:spChg>
        <pc:spChg chg="del mod ord">
          <ac:chgData name="Thomas Stensitzki" userId="75cafe6b-2f2a-469b-85c4-eec3b9c972ba" providerId="ADAL" clId="{F2BB4D5E-E5E5-4B84-8DD9-A7ADA0B72E44}" dt="2022-04-28T08:49:35.737" v="4158" actId="700"/>
          <ac:spMkLst>
            <pc:docMk/>
            <pc:sldMk cId="2410402961" sldId="607"/>
            <ac:spMk id="3" creationId="{C5FC1A63-FE2C-4907-BCB9-FEDDE08F4534}"/>
          </ac:spMkLst>
        </pc:spChg>
        <pc:spChg chg="add mod ord">
          <ac:chgData name="Thomas Stensitzki" userId="75cafe6b-2f2a-469b-85c4-eec3b9c972ba" providerId="ADAL" clId="{F2BB4D5E-E5E5-4B84-8DD9-A7ADA0B72E44}" dt="2022-04-28T08:54:05.084" v="4297" actId="20577"/>
          <ac:spMkLst>
            <pc:docMk/>
            <pc:sldMk cId="2410402961" sldId="607"/>
            <ac:spMk id="4" creationId="{91495484-5BE7-40E1-862A-4636FCB4E6CC}"/>
          </ac:spMkLst>
        </pc:spChg>
        <pc:spChg chg="add mod ord">
          <ac:chgData name="Thomas Stensitzki" userId="75cafe6b-2f2a-469b-85c4-eec3b9c972ba" providerId="ADAL" clId="{F2BB4D5E-E5E5-4B84-8DD9-A7ADA0B72E44}" dt="2022-04-28T08:52:56.354" v="4252" actId="6549"/>
          <ac:spMkLst>
            <pc:docMk/>
            <pc:sldMk cId="2410402961" sldId="607"/>
            <ac:spMk id="5" creationId="{B18F6B9A-17E6-4238-BF43-B01EF6F1C598}"/>
          </ac:spMkLst>
        </pc:spChg>
      </pc:sldChg>
      <pc:sldChg chg="del">
        <pc:chgData name="Thomas Stensitzki" userId="75cafe6b-2f2a-469b-85c4-eec3b9c972ba" providerId="ADAL" clId="{F2BB4D5E-E5E5-4B84-8DD9-A7ADA0B72E44}" dt="2022-04-19T12:23:58.675" v="127" actId="47"/>
        <pc:sldMkLst>
          <pc:docMk/>
          <pc:sldMk cId="2141078485" sldId="608"/>
        </pc:sldMkLst>
      </pc:sldChg>
      <pc:sldChg chg="del">
        <pc:chgData name="Thomas Stensitzki" userId="75cafe6b-2f2a-469b-85c4-eec3b9c972ba" providerId="ADAL" clId="{F2BB4D5E-E5E5-4B84-8DD9-A7ADA0B72E44}" dt="2022-04-19T12:23:58.675" v="127" actId="47"/>
        <pc:sldMkLst>
          <pc:docMk/>
          <pc:sldMk cId="2216310711" sldId="609"/>
        </pc:sldMkLst>
      </pc:sldChg>
      <pc:sldChg chg="del">
        <pc:chgData name="Thomas Stensitzki" userId="75cafe6b-2f2a-469b-85c4-eec3b9c972ba" providerId="ADAL" clId="{F2BB4D5E-E5E5-4B84-8DD9-A7ADA0B72E44}" dt="2022-04-19T12:23:58.675" v="127" actId="47"/>
        <pc:sldMkLst>
          <pc:docMk/>
          <pc:sldMk cId="52005476" sldId="610"/>
        </pc:sldMkLst>
      </pc:sldChg>
      <pc:sldChg chg="del">
        <pc:chgData name="Thomas Stensitzki" userId="75cafe6b-2f2a-469b-85c4-eec3b9c972ba" providerId="ADAL" clId="{F2BB4D5E-E5E5-4B84-8DD9-A7ADA0B72E44}" dt="2022-04-19T12:24:00.296" v="128" actId="47"/>
        <pc:sldMkLst>
          <pc:docMk/>
          <pc:sldMk cId="724457052" sldId="611"/>
        </pc:sldMkLst>
      </pc:sldChg>
      <pc:sldChg chg="del">
        <pc:chgData name="Thomas Stensitzki" userId="75cafe6b-2f2a-469b-85c4-eec3b9c972ba" providerId="ADAL" clId="{F2BB4D5E-E5E5-4B84-8DD9-A7ADA0B72E44}" dt="2022-04-19T12:24:00.296" v="128" actId="47"/>
        <pc:sldMkLst>
          <pc:docMk/>
          <pc:sldMk cId="1451652416" sldId="612"/>
        </pc:sldMkLst>
      </pc:sldChg>
      <pc:sldChg chg="del">
        <pc:chgData name="Thomas Stensitzki" userId="75cafe6b-2f2a-469b-85c4-eec3b9c972ba" providerId="ADAL" clId="{F2BB4D5E-E5E5-4B84-8DD9-A7ADA0B72E44}" dt="2022-04-19T12:24:02.307" v="129" actId="47"/>
        <pc:sldMkLst>
          <pc:docMk/>
          <pc:sldMk cId="1471743522" sldId="613"/>
        </pc:sldMkLst>
      </pc:sldChg>
    </pc:docChg>
  </pc:docChgLst>
  <pc:docChgLst>
    <pc:chgData name="Thomas Stensitzki" userId="75cafe6b-2f2a-469b-85c4-eec3b9c972ba" providerId="ADAL" clId="{363DE228-8D93-47E2-A1D5-6CB8C68569A9}"/>
    <pc:docChg chg="undo custSel addSld delSld modSld sldOrd addSection modSection">
      <pc:chgData name="Thomas Stensitzki" userId="75cafe6b-2f2a-469b-85c4-eec3b9c972ba" providerId="ADAL" clId="{363DE228-8D93-47E2-A1D5-6CB8C68569A9}" dt="2021-04-17T16:51:45.081" v="4048" actId="478"/>
      <pc:docMkLst>
        <pc:docMk/>
      </pc:docMkLst>
      <pc:sldChg chg="modSp mod">
        <pc:chgData name="Thomas Stensitzki" userId="75cafe6b-2f2a-469b-85c4-eec3b9c972ba" providerId="ADAL" clId="{363DE228-8D93-47E2-A1D5-6CB8C68569A9}" dt="2021-04-11T08:56:56.521" v="8" actId="20577"/>
        <pc:sldMkLst>
          <pc:docMk/>
          <pc:sldMk cId="671489701" sldId="256"/>
        </pc:sldMkLst>
        <pc:spChg chg="mod">
          <ac:chgData name="Thomas Stensitzki" userId="75cafe6b-2f2a-469b-85c4-eec3b9c972ba" providerId="ADAL" clId="{363DE228-8D93-47E2-A1D5-6CB8C68569A9}" dt="2021-04-11T08:56:56.521" v="8" actId="20577"/>
          <ac:spMkLst>
            <pc:docMk/>
            <pc:sldMk cId="671489701" sldId="256"/>
            <ac:spMk id="3" creationId="{CBA95633-B02D-4A15-A8B1-A38E0A70FD27}"/>
          </ac:spMkLst>
        </pc:spChg>
      </pc:sldChg>
      <pc:sldChg chg="modSp mod">
        <pc:chgData name="Thomas Stensitzki" userId="75cafe6b-2f2a-469b-85c4-eec3b9c972ba" providerId="ADAL" clId="{363DE228-8D93-47E2-A1D5-6CB8C68569A9}" dt="2021-04-11T10:04:19.734" v="21"/>
        <pc:sldMkLst>
          <pc:docMk/>
          <pc:sldMk cId="2855324227" sldId="257"/>
        </pc:sldMkLst>
        <pc:graphicFrameChg chg="mod modGraphic">
          <ac:chgData name="Thomas Stensitzki" userId="75cafe6b-2f2a-469b-85c4-eec3b9c972ba" providerId="ADAL" clId="{363DE228-8D93-47E2-A1D5-6CB8C68569A9}" dt="2021-04-11T10:04:19.734" v="21"/>
          <ac:graphicFrameMkLst>
            <pc:docMk/>
            <pc:sldMk cId="2855324227" sldId="257"/>
            <ac:graphicFrameMk id="6" creationId="{0F955DCC-462D-431D-BBDE-26F10687D590}"/>
          </ac:graphicFrameMkLst>
        </pc:graphicFrameChg>
      </pc:sldChg>
      <pc:sldChg chg="addSp modSp mod">
        <pc:chgData name="Thomas Stensitzki" userId="75cafe6b-2f2a-469b-85c4-eec3b9c972ba" providerId="ADAL" clId="{363DE228-8D93-47E2-A1D5-6CB8C68569A9}" dt="2021-04-15T18:20:42.395" v="3942" actId="1076"/>
        <pc:sldMkLst>
          <pc:docMk/>
          <pc:sldMk cId="3332792154" sldId="258"/>
        </pc:sldMkLst>
        <pc:spChg chg="mod">
          <ac:chgData name="Thomas Stensitzki" userId="75cafe6b-2f2a-469b-85c4-eec3b9c972ba" providerId="ADAL" clId="{363DE228-8D93-47E2-A1D5-6CB8C68569A9}" dt="2021-04-15T18:19:23.763" v="3933" actId="20577"/>
          <ac:spMkLst>
            <pc:docMk/>
            <pc:sldMk cId="3332792154" sldId="258"/>
            <ac:spMk id="3" creationId="{3A5A44EB-7FB9-473A-8ED3-C49DDD2E65AB}"/>
          </ac:spMkLst>
        </pc:spChg>
        <pc:picChg chg="add mod">
          <ac:chgData name="Thomas Stensitzki" userId="75cafe6b-2f2a-469b-85c4-eec3b9c972ba" providerId="ADAL" clId="{363DE228-8D93-47E2-A1D5-6CB8C68569A9}" dt="2021-04-15T18:20:42.395" v="3942" actId="1076"/>
          <ac:picMkLst>
            <pc:docMk/>
            <pc:sldMk cId="3332792154" sldId="258"/>
            <ac:picMk id="5" creationId="{EEE89219-4CF0-44A2-811B-A2CBC860BCCC}"/>
          </ac:picMkLst>
        </pc:picChg>
      </pc:sldChg>
      <pc:sldChg chg="modSp mod">
        <pc:chgData name="Thomas Stensitzki" userId="75cafe6b-2f2a-469b-85c4-eec3b9c972ba" providerId="ADAL" clId="{363DE228-8D93-47E2-A1D5-6CB8C68569A9}" dt="2021-04-11T10:05:00.198" v="62" actId="20577"/>
        <pc:sldMkLst>
          <pc:docMk/>
          <pc:sldMk cId="2698998357" sldId="260"/>
        </pc:sldMkLst>
        <pc:spChg chg="mod">
          <ac:chgData name="Thomas Stensitzki" userId="75cafe6b-2f2a-469b-85c4-eec3b9c972ba" providerId="ADAL" clId="{363DE228-8D93-47E2-A1D5-6CB8C68569A9}" dt="2021-04-11T10:04:38.120" v="22"/>
          <ac:spMkLst>
            <pc:docMk/>
            <pc:sldMk cId="2698998357" sldId="260"/>
            <ac:spMk id="4" creationId="{F3A15CBD-C746-44A3-A4F0-4898CE2F02E6}"/>
          </ac:spMkLst>
        </pc:spChg>
        <pc:spChg chg="mod">
          <ac:chgData name="Thomas Stensitzki" userId="75cafe6b-2f2a-469b-85c4-eec3b9c972ba" providerId="ADAL" clId="{363DE228-8D93-47E2-A1D5-6CB8C68569A9}" dt="2021-04-11T10:05:00.198" v="62" actId="20577"/>
          <ac:spMkLst>
            <pc:docMk/>
            <pc:sldMk cId="2698998357" sldId="260"/>
            <ac:spMk id="5" creationId="{F3459BE7-1731-4733-A912-12977C68CFD6}"/>
          </ac:spMkLst>
        </pc:spChg>
      </pc:sldChg>
      <pc:sldChg chg="modSp mod">
        <pc:chgData name="Thomas Stensitzki" userId="75cafe6b-2f2a-469b-85c4-eec3b9c972ba" providerId="ADAL" clId="{363DE228-8D93-47E2-A1D5-6CB8C68569A9}" dt="2021-04-17T11:19:18.618" v="3944" actId="20577"/>
        <pc:sldMkLst>
          <pc:docMk/>
          <pc:sldMk cId="4007670073" sldId="268"/>
        </pc:sldMkLst>
        <pc:spChg chg="mod">
          <ac:chgData name="Thomas Stensitzki" userId="75cafe6b-2f2a-469b-85c4-eec3b9c972ba" providerId="ADAL" clId="{363DE228-8D93-47E2-A1D5-6CB8C68569A9}" dt="2021-04-17T11:19:18.618" v="3944" actId="20577"/>
          <ac:spMkLst>
            <pc:docMk/>
            <pc:sldMk cId="4007670073" sldId="268"/>
            <ac:spMk id="4" creationId="{F3A15CBD-C746-44A3-A4F0-4898CE2F02E6}"/>
          </ac:spMkLst>
        </pc:spChg>
      </pc:sldChg>
      <pc:sldChg chg="modSp mod">
        <pc:chgData name="Thomas Stensitzki" userId="75cafe6b-2f2a-469b-85c4-eec3b9c972ba" providerId="ADAL" clId="{363DE228-8D93-47E2-A1D5-6CB8C68569A9}" dt="2021-04-13T16:17:42.792" v="3788" actId="6549"/>
        <pc:sldMkLst>
          <pc:docMk/>
          <pc:sldMk cId="2721051844" sldId="269"/>
        </pc:sldMkLst>
        <pc:spChg chg="mod">
          <ac:chgData name="Thomas Stensitzki" userId="75cafe6b-2f2a-469b-85c4-eec3b9c972ba" providerId="ADAL" clId="{363DE228-8D93-47E2-A1D5-6CB8C68569A9}" dt="2021-04-13T16:17:42.792" v="3788" actId="6549"/>
          <ac:spMkLst>
            <pc:docMk/>
            <pc:sldMk cId="2721051844" sldId="269"/>
            <ac:spMk id="5" creationId="{C24DACB5-1BEC-4C86-9652-BAFD8DE56FEF}"/>
          </ac:spMkLst>
        </pc:spChg>
      </pc:sldChg>
      <pc:sldChg chg="modSp mod">
        <pc:chgData name="Thomas Stensitzki" userId="75cafe6b-2f2a-469b-85c4-eec3b9c972ba" providerId="ADAL" clId="{363DE228-8D93-47E2-A1D5-6CB8C68569A9}" dt="2021-04-15T16:27:33.529" v="3888" actId="6549"/>
        <pc:sldMkLst>
          <pc:docMk/>
          <pc:sldMk cId="466045460" sldId="296"/>
        </pc:sldMkLst>
        <pc:spChg chg="mod">
          <ac:chgData name="Thomas Stensitzki" userId="75cafe6b-2f2a-469b-85c4-eec3b9c972ba" providerId="ADAL" clId="{363DE228-8D93-47E2-A1D5-6CB8C68569A9}" dt="2021-04-15T16:27:33.529" v="3888" actId="6549"/>
          <ac:spMkLst>
            <pc:docMk/>
            <pc:sldMk cId="466045460" sldId="296"/>
            <ac:spMk id="3" creationId="{3DE143F2-5A09-45BF-B00B-7298420C5BE2}"/>
          </ac:spMkLst>
        </pc:spChg>
      </pc:sldChg>
      <pc:sldChg chg="modSp mod">
        <pc:chgData name="Thomas Stensitzki" userId="75cafe6b-2f2a-469b-85c4-eec3b9c972ba" providerId="ADAL" clId="{363DE228-8D93-47E2-A1D5-6CB8C68569A9}" dt="2021-04-11T10:05:47.817" v="111" actId="20577"/>
        <pc:sldMkLst>
          <pc:docMk/>
          <pc:sldMk cId="53967156" sldId="297"/>
        </pc:sldMkLst>
        <pc:spChg chg="mod">
          <ac:chgData name="Thomas Stensitzki" userId="75cafe6b-2f2a-469b-85c4-eec3b9c972ba" providerId="ADAL" clId="{363DE228-8D93-47E2-A1D5-6CB8C68569A9}" dt="2021-04-11T10:05:30.095" v="67"/>
          <ac:spMkLst>
            <pc:docMk/>
            <pc:sldMk cId="53967156" sldId="297"/>
            <ac:spMk id="4" creationId="{F3A15CBD-C746-44A3-A4F0-4898CE2F02E6}"/>
          </ac:spMkLst>
        </pc:spChg>
        <pc:spChg chg="mod">
          <ac:chgData name="Thomas Stensitzki" userId="75cafe6b-2f2a-469b-85c4-eec3b9c972ba" providerId="ADAL" clId="{363DE228-8D93-47E2-A1D5-6CB8C68569A9}" dt="2021-04-11T10:05:47.817" v="111" actId="20577"/>
          <ac:spMkLst>
            <pc:docMk/>
            <pc:sldMk cId="53967156" sldId="297"/>
            <ac:spMk id="5" creationId="{F3459BE7-1731-4733-A912-12977C68CFD6}"/>
          </ac:spMkLst>
        </pc:spChg>
      </pc:sldChg>
      <pc:sldChg chg="modSp mod modAnim">
        <pc:chgData name="Thomas Stensitzki" userId="75cafe6b-2f2a-469b-85c4-eec3b9c972ba" providerId="ADAL" clId="{363DE228-8D93-47E2-A1D5-6CB8C68569A9}" dt="2021-04-11T10:11:21.512" v="229" actId="6549"/>
        <pc:sldMkLst>
          <pc:docMk/>
          <pc:sldMk cId="222169851" sldId="312"/>
        </pc:sldMkLst>
        <pc:spChg chg="mod">
          <ac:chgData name="Thomas Stensitzki" userId="75cafe6b-2f2a-469b-85c4-eec3b9c972ba" providerId="ADAL" clId="{363DE228-8D93-47E2-A1D5-6CB8C68569A9}" dt="2021-04-11T10:11:21.512" v="229" actId="6549"/>
          <ac:spMkLst>
            <pc:docMk/>
            <pc:sldMk cId="222169851" sldId="312"/>
            <ac:spMk id="5" creationId="{E4B561B6-C0CF-43D8-8BC7-F305B96C47C8}"/>
          </ac:spMkLst>
        </pc:spChg>
      </pc:sldChg>
      <pc:sldChg chg="modSp mod modNotesTx">
        <pc:chgData name="Thomas Stensitzki" userId="75cafe6b-2f2a-469b-85c4-eec3b9c972ba" providerId="ADAL" clId="{363DE228-8D93-47E2-A1D5-6CB8C68569A9}" dt="2021-04-13T16:12:45.533" v="3594" actId="6549"/>
        <pc:sldMkLst>
          <pc:docMk/>
          <pc:sldMk cId="3298503951" sldId="372"/>
        </pc:sldMkLst>
        <pc:spChg chg="mod">
          <ac:chgData name="Thomas Stensitzki" userId="75cafe6b-2f2a-469b-85c4-eec3b9c972ba" providerId="ADAL" clId="{363DE228-8D93-47E2-A1D5-6CB8C68569A9}" dt="2021-04-11T10:55:46.462" v="1153" actId="14100"/>
          <ac:spMkLst>
            <pc:docMk/>
            <pc:sldMk cId="3298503951" sldId="372"/>
            <ac:spMk id="2" creationId="{909DC09D-B9A6-4493-9A72-1CA7ECB1F5CA}"/>
          </ac:spMkLst>
        </pc:spChg>
        <pc:spChg chg="mod">
          <ac:chgData name="Thomas Stensitzki" userId="75cafe6b-2f2a-469b-85c4-eec3b9c972ba" providerId="ADAL" clId="{363DE228-8D93-47E2-A1D5-6CB8C68569A9}" dt="2021-04-13T16:11:06.803" v="3487" actId="6549"/>
          <ac:spMkLst>
            <pc:docMk/>
            <pc:sldMk cId="3298503951" sldId="372"/>
            <ac:spMk id="5" creationId="{C24DACB5-1BEC-4C86-9652-BAFD8DE56FEF}"/>
          </ac:spMkLst>
        </pc:spChg>
      </pc:sldChg>
      <pc:sldChg chg="del">
        <pc:chgData name="Thomas Stensitzki" userId="75cafe6b-2f2a-469b-85c4-eec3b9c972ba" providerId="ADAL" clId="{363DE228-8D93-47E2-A1D5-6CB8C68569A9}" dt="2021-04-11T10:05:16.402" v="66" actId="47"/>
        <pc:sldMkLst>
          <pc:docMk/>
          <pc:sldMk cId="1108181351" sldId="377"/>
        </pc:sldMkLst>
      </pc:sldChg>
      <pc:sldChg chg="modSp mod modNotesTx">
        <pc:chgData name="Thomas Stensitzki" userId="75cafe6b-2f2a-469b-85c4-eec3b9c972ba" providerId="ADAL" clId="{363DE228-8D93-47E2-A1D5-6CB8C68569A9}" dt="2021-04-13T15:55:03.787" v="2849" actId="14100"/>
        <pc:sldMkLst>
          <pc:docMk/>
          <pc:sldMk cId="2227487991" sldId="378"/>
        </pc:sldMkLst>
        <pc:spChg chg="mod">
          <ac:chgData name="Thomas Stensitzki" userId="75cafe6b-2f2a-469b-85c4-eec3b9c972ba" providerId="ADAL" clId="{363DE228-8D93-47E2-A1D5-6CB8C68569A9}" dt="2021-04-13T15:55:03.787" v="2849" actId="14100"/>
          <ac:spMkLst>
            <pc:docMk/>
            <pc:sldMk cId="2227487991" sldId="378"/>
            <ac:spMk id="2" creationId="{909DC09D-B9A6-4493-9A72-1CA7ECB1F5CA}"/>
          </ac:spMkLst>
        </pc:spChg>
        <pc:spChg chg="mod">
          <ac:chgData name="Thomas Stensitzki" userId="75cafe6b-2f2a-469b-85c4-eec3b9c972ba" providerId="ADAL" clId="{363DE228-8D93-47E2-A1D5-6CB8C68569A9}" dt="2021-04-11T10:13:05.675" v="278" actId="20577"/>
          <ac:spMkLst>
            <pc:docMk/>
            <pc:sldMk cId="2227487991" sldId="378"/>
            <ac:spMk id="4" creationId="{D12969B4-351A-4517-A5B8-3E6AD9CDB206}"/>
          </ac:spMkLst>
        </pc:spChg>
        <pc:spChg chg="mod">
          <ac:chgData name="Thomas Stensitzki" userId="75cafe6b-2f2a-469b-85c4-eec3b9c972ba" providerId="ADAL" clId="{363DE228-8D93-47E2-A1D5-6CB8C68569A9}" dt="2021-04-11T10:59:23.370" v="1259" actId="20577"/>
          <ac:spMkLst>
            <pc:docMk/>
            <pc:sldMk cId="2227487991" sldId="378"/>
            <ac:spMk id="5" creationId="{C24DACB5-1BEC-4C86-9652-BAFD8DE56FEF}"/>
          </ac:spMkLst>
        </pc:spChg>
      </pc:sldChg>
      <pc:sldChg chg="addSp delSp modSp mod chgLayout modNotesTx">
        <pc:chgData name="Thomas Stensitzki" userId="75cafe6b-2f2a-469b-85c4-eec3b9c972ba" providerId="ADAL" clId="{363DE228-8D93-47E2-A1D5-6CB8C68569A9}" dt="2021-04-11T10:43:04.830" v="820" actId="108"/>
        <pc:sldMkLst>
          <pc:docMk/>
          <pc:sldMk cId="4126930427" sldId="379"/>
        </pc:sldMkLst>
        <pc:spChg chg="mod ord">
          <ac:chgData name="Thomas Stensitzki" userId="75cafe6b-2f2a-469b-85c4-eec3b9c972ba" providerId="ADAL" clId="{363DE228-8D93-47E2-A1D5-6CB8C68569A9}" dt="2021-04-11T10:36:23.975" v="745"/>
          <ac:spMkLst>
            <pc:docMk/>
            <pc:sldMk cId="4126930427" sldId="379"/>
            <ac:spMk id="2" creationId="{50183ADD-E6D0-4570-B5FB-F95BA9130DEC}"/>
          </ac:spMkLst>
        </pc:spChg>
        <pc:spChg chg="add mod ord">
          <ac:chgData name="Thomas Stensitzki" userId="75cafe6b-2f2a-469b-85c4-eec3b9c972ba" providerId="ADAL" clId="{363DE228-8D93-47E2-A1D5-6CB8C68569A9}" dt="2021-04-11T10:43:04.830" v="820" actId="108"/>
          <ac:spMkLst>
            <pc:docMk/>
            <pc:sldMk cId="4126930427" sldId="379"/>
            <ac:spMk id="3" creationId="{640681BE-521C-4DA5-8225-6EDEBEF53EB0}"/>
          </ac:spMkLst>
        </pc:spChg>
        <pc:picChg chg="del">
          <ac:chgData name="Thomas Stensitzki" userId="75cafe6b-2f2a-469b-85c4-eec3b9c972ba" providerId="ADAL" clId="{363DE228-8D93-47E2-A1D5-6CB8C68569A9}" dt="2021-04-11T10:14:58.629" v="302" actId="478"/>
          <ac:picMkLst>
            <pc:docMk/>
            <pc:sldMk cId="4126930427" sldId="379"/>
            <ac:picMk id="1026" creationId="{6F4D62F5-9A7A-4568-B0C8-37200F0AADF0}"/>
          </ac:picMkLst>
        </pc:picChg>
      </pc:sldChg>
      <pc:sldChg chg="del">
        <pc:chgData name="Thomas Stensitzki" userId="75cafe6b-2f2a-469b-85c4-eec3b9c972ba" providerId="ADAL" clId="{363DE228-8D93-47E2-A1D5-6CB8C68569A9}" dt="2021-04-11T10:12:07.961" v="249" actId="47"/>
        <pc:sldMkLst>
          <pc:docMk/>
          <pc:sldMk cId="2961263446" sldId="380"/>
        </pc:sldMkLst>
      </pc:sldChg>
      <pc:sldChg chg="del">
        <pc:chgData name="Thomas Stensitzki" userId="75cafe6b-2f2a-469b-85c4-eec3b9c972ba" providerId="ADAL" clId="{363DE228-8D93-47E2-A1D5-6CB8C68569A9}" dt="2021-04-11T10:12:15.495" v="250" actId="47"/>
        <pc:sldMkLst>
          <pc:docMk/>
          <pc:sldMk cId="2134997509" sldId="381"/>
        </pc:sldMkLst>
      </pc:sldChg>
      <pc:sldChg chg="del">
        <pc:chgData name="Thomas Stensitzki" userId="75cafe6b-2f2a-469b-85c4-eec3b9c972ba" providerId="ADAL" clId="{363DE228-8D93-47E2-A1D5-6CB8C68569A9}" dt="2021-04-11T10:12:15.495" v="250" actId="47"/>
        <pc:sldMkLst>
          <pc:docMk/>
          <pc:sldMk cId="804569921" sldId="382"/>
        </pc:sldMkLst>
      </pc:sldChg>
      <pc:sldChg chg="del">
        <pc:chgData name="Thomas Stensitzki" userId="75cafe6b-2f2a-469b-85c4-eec3b9c972ba" providerId="ADAL" clId="{363DE228-8D93-47E2-A1D5-6CB8C68569A9}" dt="2021-04-11T10:12:23.672" v="251" actId="47"/>
        <pc:sldMkLst>
          <pc:docMk/>
          <pc:sldMk cId="1200616128" sldId="383"/>
        </pc:sldMkLst>
      </pc:sldChg>
      <pc:sldChg chg="del">
        <pc:chgData name="Thomas Stensitzki" userId="75cafe6b-2f2a-469b-85c4-eec3b9c972ba" providerId="ADAL" clId="{363DE228-8D93-47E2-A1D5-6CB8C68569A9}" dt="2021-04-11T10:12:23.672" v="251" actId="47"/>
        <pc:sldMkLst>
          <pc:docMk/>
          <pc:sldMk cId="2706860444" sldId="384"/>
        </pc:sldMkLst>
      </pc:sldChg>
      <pc:sldChg chg="del">
        <pc:chgData name="Thomas Stensitzki" userId="75cafe6b-2f2a-469b-85c4-eec3b9c972ba" providerId="ADAL" clId="{363DE228-8D93-47E2-A1D5-6CB8C68569A9}" dt="2021-04-11T10:12:23.672" v="251" actId="47"/>
        <pc:sldMkLst>
          <pc:docMk/>
          <pc:sldMk cId="2618174212" sldId="385"/>
        </pc:sldMkLst>
      </pc:sldChg>
      <pc:sldChg chg="del">
        <pc:chgData name="Thomas Stensitzki" userId="75cafe6b-2f2a-469b-85c4-eec3b9c972ba" providerId="ADAL" clId="{363DE228-8D93-47E2-A1D5-6CB8C68569A9}" dt="2021-04-11T10:12:23.672" v="251" actId="47"/>
        <pc:sldMkLst>
          <pc:docMk/>
          <pc:sldMk cId="2318153121" sldId="386"/>
        </pc:sldMkLst>
      </pc:sldChg>
      <pc:sldChg chg="del">
        <pc:chgData name="Thomas Stensitzki" userId="75cafe6b-2f2a-469b-85c4-eec3b9c972ba" providerId="ADAL" clId="{363DE228-8D93-47E2-A1D5-6CB8C68569A9}" dt="2021-04-11T10:12:23.672" v="251" actId="47"/>
        <pc:sldMkLst>
          <pc:docMk/>
          <pc:sldMk cId="2558906762" sldId="387"/>
        </pc:sldMkLst>
      </pc:sldChg>
      <pc:sldChg chg="del">
        <pc:chgData name="Thomas Stensitzki" userId="75cafe6b-2f2a-469b-85c4-eec3b9c972ba" providerId="ADAL" clId="{363DE228-8D93-47E2-A1D5-6CB8C68569A9}" dt="2021-04-11T10:12:37.717" v="252" actId="47"/>
        <pc:sldMkLst>
          <pc:docMk/>
          <pc:sldMk cId="2051762330" sldId="388"/>
        </pc:sldMkLst>
      </pc:sldChg>
      <pc:sldChg chg="del">
        <pc:chgData name="Thomas Stensitzki" userId="75cafe6b-2f2a-469b-85c4-eec3b9c972ba" providerId="ADAL" clId="{363DE228-8D93-47E2-A1D5-6CB8C68569A9}" dt="2021-04-11T10:12:23.672" v="251" actId="47"/>
        <pc:sldMkLst>
          <pc:docMk/>
          <pc:sldMk cId="3866198253" sldId="389"/>
        </pc:sldMkLst>
      </pc:sldChg>
      <pc:sldChg chg="del">
        <pc:chgData name="Thomas Stensitzki" userId="75cafe6b-2f2a-469b-85c4-eec3b9c972ba" providerId="ADAL" clId="{363DE228-8D93-47E2-A1D5-6CB8C68569A9}" dt="2021-04-11T10:12:23.672" v="251" actId="47"/>
        <pc:sldMkLst>
          <pc:docMk/>
          <pc:sldMk cId="1281650883" sldId="390"/>
        </pc:sldMkLst>
      </pc:sldChg>
      <pc:sldChg chg="del">
        <pc:chgData name="Thomas Stensitzki" userId="75cafe6b-2f2a-469b-85c4-eec3b9c972ba" providerId="ADAL" clId="{363DE228-8D93-47E2-A1D5-6CB8C68569A9}" dt="2021-04-11T10:12:47.564" v="253" actId="47"/>
        <pc:sldMkLst>
          <pc:docMk/>
          <pc:sldMk cId="2585887928" sldId="391"/>
        </pc:sldMkLst>
      </pc:sldChg>
      <pc:sldChg chg="addSp">
        <pc:chgData name="Thomas Stensitzki" userId="75cafe6b-2f2a-469b-85c4-eec3b9c972ba" providerId="ADAL" clId="{363DE228-8D93-47E2-A1D5-6CB8C68569A9}" dt="2021-04-11T10:16:07.641" v="330"/>
        <pc:sldMkLst>
          <pc:docMk/>
          <pc:sldMk cId="1406229965" sldId="392"/>
        </pc:sldMkLst>
        <pc:picChg chg="add">
          <ac:chgData name="Thomas Stensitzki" userId="75cafe6b-2f2a-469b-85c4-eec3b9c972ba" providerId="ADAL" clId="{363DE228-8D93-47E2-A1D5-6CB8C68569A9}" dt="2021-04-11T10:16:07.641" v="330"/>
          <ac:picMkLst>
            <pc:docMk/>
            <pc:sldMk cId="1406229965" sldId="392"/>
            <ac:picMk id="1026" creationId="{043285E5-2210-4AFC-A5D8-BFCD39482712}"/>
          </ac:picMkLst>
        </pc:picChg>
      </pc:sldChg>
      <pc:sldChg chg="delSp modSp add del mod">
        <pc:chgData name="Thomas Stensitzki" userId="75cafe6b-2f2a-469b-85c4-eec3b9c972ba" providerId="ADAL" clId="{363DE228-8D93-47E2-A1D5-6CB8C68569A9}" dt="2021-04-11T12:38:00.651" v="2462" actId="1440"/>
        <pc:sldMkLst>
          <pc:docMk/>
          <pc:sldMk cId="2708846828" sldId="392"/>
        </pc:sldMkLst>
        <pc:spChg chg="mod">
          <ac:chgData name="Thomas Stensitzki" userId="75cafe6b-2f2a-469b-85c4-eec3b9c972ba" providerId="ADAL" clId="{363DE228-8D93-47E2-A1D5-6CB8C68569A9}" dt="2021-04-11T10:16:00.891" v="329"/>
          <ac:spMkLst>
            <pc:docMk/>
            <pc:sldMk cId="2708846828" sldId="392"/>
            <ac:spMk id="2" creationId="{11E5EEC8-6493-4BA0-8811-4A3F48FE62AF}"/>
          </ac:spMkLst>
        </pc:spChg>
        <pc:picChg chg="del">
          <ac:chgData name="Thomas Stensitzki" userId="75cafe6b-2f2a-469b-85c4-eec3b9c972ba" providerId="ADAL" clId="{363DE228-8D93-47E2-A1D5-6CB8C68569A9}" dt="2021-04-11T10:15:44.410" v="327" actId="478"/>
          <ac:picMkLst>
            <pc:docMk/>
            <pc:sldMk cId="2708846828" sldId="392"/>
            <ac:picMk id="4" creationId="{4F4D8847-2D1E-4810-BA5F-7518BE667DB4}"/>
          </ac:picMkLst>
        </pc:picChg>
        <pc:picChg chg="mod">
          <ac:chgData name="Thomas Stensitzki" userId="75cafe6b-2f2a-469b-85c4-eec3b9c972ba" providerId="ADAL" clId="{363DE228-8D93-47E2-A1D5-6CB8C68569A9}" dt="2021-04-11T12:38:00.651" v="2462" actId="1440"/>
          <ac:picMkLst>
            <pc:docMk/>
            <pc:sldMk cId="2708846828" sldId="392"/>
            <ac:picMk id="1026" creationId="{043285E5-2210-4AFC-A5D8-BFCD39482712}"/>
          </ac:picMkLst>
        </pc:picChg>
      </pc:sldChg>
      <pc:sldChg chg="del">
        <pc:chgData name="Thomas Stensitzki" userId="75cafe6b-2f2a-469b-85c4-eec3b9c972ba" providerId="ADAL" clId="{363DE228-8D93-47E2-A1D5-6CB8C68569A9}" dt="2021-04-11T10:12:37.717" v="252" actId="47"/>
        <pc:sldMkLst>
          <pc:docMk/>
          <pc:sldMk cId="63085039" sldId="393"/>
        </pc:sldMkLst>
      </pc:sldChg>
      <pc:sldChg chg="del">
        <pc:chgData name="Thomas Stensitzki" userId="75cafe6b-2f2a-469b-85c4-eec3b9c972ba" providerId="ADAL" clId="{363DE228-8D93-47E2-A1D5-6CB8C68569A9}" dt="2021-04-11T10:12:37.717" v="252" actId="47"/>
        <pc:sldMkLst>
          <pc:docMk/>
          <pc:sldMk cId="3125518215" sldId="394"/>
        </pc:sldMkLst>
      </pc:sldChg>
      <pc:sldChg chg="del">
        <pc:chgData name="Thomas Stensitzki" userId="75cafe6b-2f2a-469b-85c4-eec3b9c972ba" providerId="ADAL" clId="{363DE228-8D93-47E2-A1D5-6CB8C68569A9}" dt="2021-04-11T10:12:47.564" v="253" actId="47"/>
        <pc:sldMkLst>
          <pc:docMk/>
          <pc:sldMk cId="3389754536" sldId="395"/>
        </pc:sldMkLst>
      </pc:sldChg>
      <pc:sldChg chg="del">
        <pc:chgData name="Thomas Stensitzki" userId="75cafe6b-2f2a-469b-85c4-eec3b9c972ba" providerId="ADAL" clId="{363DE228-8D93-47E2-A1D5-6CB8C68569A9}" dt="2021-04-11T10:12:47.564" v="253" actId="47"/>
        <pc:sldMkLst>
          <pc:docMk/>
          <pc:sldMk cId="3169144543" sldId="397"/>
        </pc:sldMkLst>
      </pc:sldChg>
      <pc:sldChg chg="del">
        <pc:chgData name="Thomas Stensitzki" userId="75cafe6b-2f2a-469b-85c4-eec3b9c972ba" providerId="ADAL" clId="{363DE228-8D93-47E2-A1D5-6CB8C68569A9}" dt="2021-04-11T10:12:37.717" v="252" actId="47"/>
        <pc:sldMkLst>
          <pc:docMk/>
          <pc:sldMk cId="482102076" sldId="398"/>
        </pc:sldMkLst>
      </pc:sldChg>
      <pc:sldChg chg="del">
        <pc:chgData name="Thomas Stensitzki" userId="75cafe6b-2f2a-469b-85c4-eec3b9c972ba" providerId="ADAL" clId="{363DE228-8D93-47E2-A1D5-6CB8C68569A9}" dt="2021-04-11T10:12:37.717" v="252" actId="47"/>
        <pc:sldMkLst>
          <pc:docMk/>
          <pc:sldMk cId="3771242240" sldId="399"/>
        </pc:sldMkLst>
      </pc:sldChg>
      <pc:sldChg chg="del">
        <pc:chgData name="Thomas Stensitzki" userId="75cafe6b-2f2a-469b-85c4-eec3b9c972ba" providerId="ADAL" clId="{363DE228-8D93-47E2-A1D5-6CB8C68569A9}" dt="2021-04-11T10:12:37.717" v="252" actId="47"/>
        <pc:sldMkLst>
          <pc:docMk/>
          <pc:sldMk cId="425308375" sldId="400"/>
        </pc:sldMkLst>
      </pc:sldChg>
      <pc:sldChg chg="del">
        <pc:chgData name="Thomas Stensitzki" userId="75cafe6b-2f2a-469b-85c4-eec3b9c972ba" providerId="ADAL" clId="{363DE228-8D93-47E2-A1D5-6CB8C68569A9}" dt="2021-04-11T10:12:37.717" v="252" actId="47"/>
        <pc:sldMkLst>
          <pc:docMk/>
          <pc:sldMk cId="3556353505" sldId="402"/>
        </pc:sldMkLst>
      </pc:sldChg>
      <pc:sldChg chg="del">
        <pc:chgData name="Thomas Stensitzki" userId="75cafe6b-2f2a-469b-85c4-eec3b9c972ba" providerId="ADAL" clId="{363DE228-8D93-47E2-A1D5-6CB8C68569A9}" dt="2021-04-11T10:12:47.564" v="253" actId="47"/>
        <pc:sldMkLst>
          <pc:docMk/>
          <pc:sldMk cId="3957297632" sldId="403"/>
        </pc:sldMkLst>
      </pc:sldChg>
      <pc:sldChg chg="del">
        <pc:chgData name="Thomas Stensitzki" userId="75cafe6b-2f2a-469b-85c4-eec3b9c972ba" providerId="ADAL" clId="{363DE228-8D93-47E2-A1D5-6CB8C68569A9}" dt="2021-04-11T10:12:15.495" v="250" actId="47"/>
        <pc:sldMkLst>
          <pc:docMk/>
          <pc:sldMk cId="4270566703" sldId="404"/>
        </pc:sldMkLst>
      </pc:sldChg>
      <pc:sldChg chg="del">
        <pc:chgData name="Thomas Stensitzki" userId="75cafe6b-2f2a-469b-85c4-eec3b9c972ba" providerId="ADAL" clId="{363DE228-8D93-47E2-A1D5-6CB8C68569A9}" dt="2021-04-11T10:12:15.495" v="250" actId="47"/>
        <pc:sldMkLst>
          <pc:docMk/>
          <pc:sldMk cId="21006271" sldId="405"/>
        </pc:sldMkLst>
      </pc:sldChg>
      <pc:sldChg chg="del">
        <pc:chgData name="Thomas Stensitzki" userId="75cafe6b-2f2a-469b-85c4-eec3b9c972ba" providerId="ADAL" clId="{363DE228-8D93-47E2-A1D5-6CB8C68569A9}" dt="2021-04-11T10:12:15.495" v="250" actId="47"/>
        <pc:sldMkLst>
          <pc:docMk/>
          <pc:sldMk cId="550572939" sldId="406"/>
        </pc:sldMkLst>
      </pc:sldChg>
      <pc:sldChg chg="del">
        <pc:chgData name="Thomas Stensitzki" userId="75cafe6b-2f2a-469b-85c4-eec3b9c972ba" providerId="ADAL" clId="{363DE228-8D93-47E2-A1D5-6CB8C68569A9}" dt="2021-04-11T10:12:15.495" v="250" actId="47"/>
        <pc:sldMkLst>
          <pc:docMk/>
          <pc:sldMk cId="3064330710" sldId="407"/>
        </pc:sldMkLst>
      </pc:sldChg>
      <pc:sldChg chg="del">
        <pc:chgData name="Thomas Stensitzki" userId="75cafe6b-2f2a-469b-85c4-eec3b9c972ba" providerId="ADAL" clId="{363DE228-8D93-47E2-A1D5-6CB8C68569A9}" dt="2021-04-11T10:12:23.672" v="251" actId="47"/>
        <pc:sldMkLst>
          <pc:docMk/>
          <pc:sldMk cId="1323954105" sldId="408"/>
        </pc:sldMkLst>
      </pc:sldChg>
      <pc:sldChg chg="del">
        <pc:chgData name="Thomas Stensitzki" userId="75cafe6b-2f2a-469b-85c4-eec3b9c972ba" providerId="ADAL" clId="{363DE228-8D93-47E2-A1D5-6CB8C68569A9}" dt="2021-04-11T10:12:23.672" v="251" actId="47"/>
        <pc:sldMkLst>
          <pc:docMk/>
          <pc:sldMk cId="974386544" sldId="409"/>
        </pc:sldMkLst>
      </pc:sldChg>
      <pc:sldChg chg="del">
        <pc:chgData name="Thomas Stensitzki" userId="75cafe6b-2f2a-469b-85c4-eec3b9c972ba" providerId="ADAL" clId="{363DE228-8D93-47E2-A1D5-6CB8C68569A9}" dt="2021-04-11T10:12:23.672" v="251" actId="47"/>
        <pc:sldMkLst>
          <pc:docMk/>
          <pc:sldMk cId="179439695" sldId="410"/>
        </pc:sldMkLst>
      </pc:sldChg>
      <pc:sldChg chg="del">
        <pc:chgData name="Thomas Stensitzki" userId="75cafe6b-2f2a-469b-85c4-eec3b9c972ba" providerId="ADAL" clId="{363DE228-8D93-47E2-A1D5-6CB8C68569A9}" dt="2021-04-11T10:12:23.672" v="251" actId="47"/>
        <pc:sldMkLst>
          <pc:docMk/>
          <pc:sldMk cId="3385880885" sldId="411"/>
        </pc:sldMkLst>
      </pc:sldChg>
      <pc:sldChg chg="del">
        <pc:chgData name="Thomas Stensitzki" userId="75cafe6b-2f2a-469b-85c4-eec3b9c972ba" providerId="ADAL" clId="{363DE228-8D93-47E2-A1D5-6CB8C68569A9}" dt="2021-04-11T10:12:23.672" v="251" actId="47"/>
        <pc:sldMkLst>
          <pc:docMk/>
          <pc:sldMk cId="439447182" sldId="412"/>
        </pc:sldMkLst>
      </pc:sldChg>
      <pc:sldChg chg="del">
        <pc:chgData name="Thomas Stensitzki" userId="75cafe6b-2f2a-469b-85c4-eec3b9c972ba" providerId="ADAL" clId="{363DE228-8D93-47E2-A1D5-6CB8C68569A9}" dt="2021-04-11T10:12:37.717" v="252" actId="47"/>
        <pc:sldMkLst>
          <pc:docMk/>
          <pc:sldMk cId="2971012066" sldId="413"/>
        </pc:sldMkLst>
      </pc:sldChg>
      <pc:sldChg chg="del">
        <pc:chgData name="Thomas Stensitzki" userId="75cafe6b-2f2a-469b-85c4-eec3b9c972ba" providerId="ADAL" clId="{363DE228-8D93-47E2-A1D5-6CB8C68569A9}" dt="2021-04-11T10:12:37.717" v="252" actId="47"/>
        <pc:sldMkLst>
          <pc:docMk/>
          <pc:sldMk cId="1183984408" sldId="414"/>
        </pc:sldMkLst>
      </pc:sldChg>
      <pc:sldChg chg="del">
        <pc:chgData name="Thomas Stensitzki" userId="75cafe6b-2f2a-469b-85c4-eec3b9c972ba" providerId="ADAL" clId="{363DE228-8D93-47E2-A1D5-6CB8C68569A9}" dt="2021-04-11T10:12:37.717" v="252" actId="47"/>
        <pc:sldMkLst>
          <pc:docMk/>
          <pc:sldMk cId="1388017731" sldId="415"/>
        </pc:sldMkLst>
      </pc:sldChg>
      <pc:sldChg chg="del">
        <pc:chgData name="Thomas Stensitzki" userId="75cafe6b-2f2a-469b-85c4-eec3b9c972ba" providerId="ADAL" clId="{363DE228-8D93-47E2-A1D5-6CB8C68569A9}" dt="2021-04-11T10:12:37.717" v="252" actId="47"/>
        <pc:sldMkLst>
          <pc:docMk/>
          <pc:sldMk cId="1390187629" sldId="416"/>
        </pc:sldMkLst>
      </pc:sldChg>
      <pc:sldChg chg="del">
        <pc:chgData name="Thomas Stensitzki" userId="75cafe6b-2f2a-469b-85c4-eec3b9c972ba" providerId="ADAL" clId="{363DE228-8D93-47E2-A1D5-6CB8C68569A9}" dt="2021-04-11T10:12:37.717" v="252" actId="47"/>
        <pc:sldMkLst>
          <pc:docMk/>
          <pc:sldMk cId="3737910627" sldId="417"/>
        </pc:sldMkLst>
      </pc:sldChg>
      <pc:sldChg chg="del">
        <pc:chgData name="Thomas Stensitzki" userId="75cafe6b-2f2a-469b-85c4-eec3b9c972ba" providerId="ADAL" clId="{363DE228-8D93-47E2-A1D5-6CB8C68569A9}" dt="2021-04-11T10:12:37.717" v="252" actId="47"/>
        <pc:sldMkLst>
          <pc:docMk/>
          <pc:sldMk cId="1540827525" sldId="418"/>
        </pc:sldMkLst>
      </pc:sldChg>
      <pc:sldChg chg="del">
        <pc:chgData name="Thomas Stensitzki" userId="75cafe6b-2f2a-469b-85c4-eec3b9c972ba" providerId="ADAL" clId="{363DE228-8D93-47E2-A1D5-6CB8C68569A9}" dt="2021-04-11T10:12:47.564" v="253" actId="47"/>
        <pc:sldMkLst>
          <pc:docMk/>
          <pc:sldMk cId="2335610676" sldId="419"/>
        </pc:sldMkLst>
      </pc:sldChg>
      <pc:sldChg chg="del">
        <pc:chgData name="Thomas Stensitzki" userId="75cafe6b-2f2a-469b-85c4-eec3b9c972ba" providerId="ADAL" clId="{363DE228-8D93-47E2-A1D5-6CB8C68569A9}" dt="2021-04-11T10:12:47.564" v="253" actId="47"/>
        <pc:sldMkLst>
          <pc:docMk/>
          <pc:sldMk cId="1865896873" sldId="420"/>
        </pc:sldMkLst>
      </pc:sldChg>
      <pc:sldChg chg="del">
        <pc:chgData name="Thomas Stensitzki" userId="75cafe6b-2f2a-469b-85c4-eec3b9c972ba" providerId="ADAL" clId="{363DE228-8D93-47E2-A1D5-6CB8C68569A9}" dt="2021-04-11T10:12:47.564" v="253" actId="47"/>
        <pc:sldMkLst>
          <pc:docMk/>
          <pc:sldMk cId="1524395293" sldId="421"/>
        </pc:sldMkLst>
      </pc:sldChg>
      <pc:sldChg chg="del">
        <pc:chgData name="Thomas Stensitzki" userId="75cafe6b-2f2a-469b-85c4-eec3b9c972ba" providerId="ADAL" clId="{363DE228-8D93-47E2-A1D5-6CB8C68569A9}" dt="2021-04-11T10:12:47.564" v="253" actId="47"/>
        <pc:sldMkLst>
          <pc:docMk/>
          <pc:sldMk cId="1280545839" sldId="422"/>
        </pc:sldMkLst>
      </pc:sldChg>
      <pc:sldChg chg="del">
        <pc:chgData name="Thomas Stensitzki" userId="75cafe6b-2f2a-469b-85c4-eec3b9c972ba" providerId="ADAL" clId="{363DE228-8D93-47E2-A1D5-6CB8C68569A9}" dt="2021-04-11T10:12:47.564" v="253" actId="47"/>
        <pc:sldMkLst>
          <pc:docMk/>
          <pc:sldMk cId="3310606032" sldId="423"/>
        </pc:sldMkLst>
      </pc:sldChg>
      <pc:sldChg chg="del">
        <pc:chgData name="Thomas Stensitzki" userId="75cafe6b-2f2a-469b-85c4-eec3b9c972ba" providerId="ADAL" clId="{363DE228-8D93-47E2-A1D5-6CB8C68569A9}" dt="2021-04-11T10:12:47.564" v="253" actId="47"/>
        <pc:sldMkLst>
          <pc:docMk/>
          <pc:sldMk cId="2775711133" sldId="424"/>
        </pc:sldMkLst>
      </pc:sldChg>
      <pc:sldChg chg="del">
        <pc:chgData name="Thomas Stensitzki" userId="75cafe6b-2f2a-469b-85c4-eec3b9c972ba" providerId="ADAL" clId="{363DE228-8D93-47E2-A1D5-6CB8C68569A9}" dt="2021-04-11T10:12:47.564" v="253" actId="47"/>
        <pc:sldMkLst>
          <pc:docMk/>
          <pc:sldMk cId="1206553185" sldId="425"/>
        </pc:sldMkLst>
      </pc:sldChg>
      <pc:sldChg chg="add ord">
        <pc:chgData name="Thomas Stensitzki" userId="75cafe6b-2f2a-469b-85c4-eec3b9c972ba" providerId="ADAL" clId="{363DE228-8D93-47E2-A1D5-6CB8C68569A9}" dt="2021-04-11T10:05:13.963" v="65"/>
        <pc:sldMkLst>
          <pc:docMk/>
          <pc:sldMk cId="3890497020" sldId="426"/>
        </pc:sldMkLst>
      </pc:sldChg>
      <pc:sldChg chg="addSp delSp modSp add del mod chgLayout modNotesTx">
        <pc:chgData name="Thomas Stensitzki" userId="75cafe6b-2f2a-469b-85c4-eec3b9c972ba" providerId="ADAL" clId="{363DE228-8D93-47E2-A1D5-6CB8C68569A9}" dt="2021-04-13T15:59:43.896" v="2947" actId="27636"/>
        <pc:sldMkLst>
          <pc:docMk/>
          <pc:sldMk cId="1307627255" sldId="427"/>
        </pc:sldMkLst>
        <pc:spChg chg="mod ord">
          <ac:chgData name="Thomas Stensitzki" userId="75cafe6b-2f2a-469b-85c4-eec3b9c972ba" providerId="ADAL" clId="{363DE228-8D93-47E2-A1D5-6CB8C68569A9}" dt="2021-04-11T10:42:39.361" v="816" actId="700"/>
          <ac:spMkLst>
            <pc:docMk/>
            <pc:sldMk cId="1307627255" sldId="427"/>
            <ac:spMk id="2" creationId="{50183ADD-E6D0-4570-B5FB-F95BA9130DEC}"/>
          </ac:spMkLst>
        </pc:spChg>
        <pc:spChg chg="add mod ord">
          <ac:chgData name="Thomas Stensitzki" userId="75cafe6b-2f2a-469b-85c4-eec3b9c972ba" providerId="ADAL" clId="{363DE228-8D93-47E2-A1D5-6CB8C68569A9}" dt="2021-04-13T15:59:43.896" v="2947" actId="27636"/>
          <ac:spMkLst>
            <pc:docMk/>
            <pc:sldMk cId="1307627255" sldId="427"/>
            <ac:spMk id="4" creationId="{22414E82-0501-4D9C-BD26-C17C4F59F20E}"/>
          </ac:spMkLst>
        </pc:spChg>
        <pc:spChg chg="add del mod">
          <ac:chgData name="Thomas Stensitzki" userId="75cafe6b-2f2a-469b-85c4-eec3b9c972ba" providerId="ADAL" clId="{363DE228-8D93-47E2-A1D5-6CB8C68569A9}" dt="2021-04-11T10:42:35.186" v="815" actId="478"/>
          <ac:spMkLst>
            <pc:docMk/>
            <pc:sldMk cId="1307627255" sldId="427"/>
            <ac:spMk id="5" creationId="{937AE2D3-5993-4F10-8262-EC45EBE8933B}"/>
          </ac:spMkLst>
        </pc:spChg>
        <pc:picChg chg="del mod">
          <ac:chgData name="Thomas Stensitzki" userId="75cafe6b-2f2a-469b-85c4-eec3b9c972ba" providerId="ADAL" clId="{363DE228-8D93-47E2-A1D5-6CB8C68569A9}" dt="2021-04-11T10:14:55.954" v="301" actId="478"/>
          <ac:picMkLst>
            <pc:docMk/>
            <pc:sldMk cId="1307627255" sldId="427"/>
            <ac:picMk id="1026" creationId="{6F4D62F5-9A7A-4568-B0C8-37200F0AADF0}"/>
          </ac:picMkLst>
        </pc:picChg>
        <pc:picChg chg="mod">
          <ac:chgData name="Thomas Stensitzki" userId="75cafe6b-2f2a-469b-85c4-eec3b9c972ba" providerId="ADAL" clId="{363DE228-8D93-47E2-A1D5-6CB8C68569A9}" dt="2021-04-13T15:59:39.739" v="2945" actId="1076"/>
          <ac:picMkLst>
            <pc:docMk/>
            <pc:sldMk cId="1307627255" sldId="427"/>
            <ac:picMk id="4098" creationId="{E10E7EF9-2BD3-4FE4-ACFA-F552284841ED}"/>
          </ac:picMkLst>
        </pc:picChg>
      </pc:sldChg>
      <pc:sldChg chg="addSp">
        <pc:chgData name="Thomas Stensitzki" userId="75cafe6b-2f2a-469b-85c4-eec3b9c972ba" providerId="ADAL" clId="{363DE228-8D93-47E2-A1D5-6CB8C68569A9}" dt="2021-04-11T10:41:15.968" v="807"/>
        <pc:sldMkLst>
          <pc:docMk/>
          <pc:sldMk cId="3881097693" sldId="427"/>
        </pc:sldMkLst>
        <pc:picChg chg="add">
          <ac:chgData name="Thomas Stensitzki" userId="75cafe6b-2f2a-469b-85c4-eec3b9c972ba" providerId="ADAL" clId="{363DE228-8D93-47E2-A1D5-6CB8C68569A9}" dt="2021-04-11T10:41:15.968" v="807"/>
          <ac:picMkLst>
            <pc:docMk/>
            <pc:sldMk cId="3881097693" sldId="427"/>
            <ac:picMk id="4098" creationId="{E10E7EF9-2BD3-4FE4-ACFA-F552284841ED}"/>
          </ac:picMkLst>
        </pc:picChg>
      </pc:sldChg>
      <pc:sldChg chg="addSp modSp add del mod modNotesTx">
        <pc:chgData name="Thomas Stensitzki" userId="75cafe6b-2f2a-469b-85c4-eec3b9c972ba" providerId="ADAL" clId="{363DE228-8D93-47E2-A1D5-6CB8C68569A9}" dt="2021-04-11T12:37:57.319" v="2460" actId="1440"/>
        <pc:sldMkLst>
          <pc:docMk/>
          <pc:sldMk cId="2443006273" sldId="428"/>
        </pc:sldMkLst>
        <pc:spChg chg="mod">
          <ac:chgData name="Thomas Stensitzki" userId="75cafe6b-2f2a-469b-85c4-eec3b9c972ba" providerId="ADAL" clId="{363DE228-8D93-47E2-A1D5-6CB8C68569A9}" dt="2021-04-11T10:27:12.244" v="627"/>
          <ac:spMkLst>
            <pc:docMk/>
            <pc:sldMk cId="2443006273" sldId="428"/>
            <ac:spMk id="2" creationId="{11E5EEC8-6493-4BA0-8811-4A3F48FE62AF}"/>
          </ac:spMkLst>
        </pc:spChg>
        <pc:spChg chg="add mod">
          <ac:chgData name="Thomas Stensitzki" userId="75cafe6b-2f2a-469b-85c4-eec3b9c972ba" providerId="ADAL" clId="{363DE228-8D93-47E2-A1D5-6CB8C68569A9}" dt="2021-04-11T10:31:19.642" v="681" actId="6549"/>
          <ac:spMkLst>
            <pc:docMk/>
            <pc:sldMk cId="2443006273" sldId="428"/>
            <ac:spMk id="5" creationId="{6A8D1552-1696-486B-9964-CEA61DEFC042}"/>
          </ac:spMkLst>
        </pc:spChg>
        <pc:picChg chg="mod">
          <ac:chgData name="Thomas Stensitzki" userId="75cafe6b-2f2a-469b-85c4-eec3b9c972ba" providerId="ADAL" clId="{363DE228-8D93-47E2-A1D5-6CB8C68569A9}" dt="2021-04-11T12:37:57.319" v="2460" actId="1440"/>
          <ac:picMkLst>
            <pc:docMk/>
            <pc:sldMk cId="2443006273" sldId="428"/>
            <ac:picMk id="3074" creationId="{34C63600-63F4-4247-8C21-941F3DD71546}"/>
          </ac:picMkLst>
        </pc:picChg>
      </pc:sldChg>
      <pc:sldChg chg="addSp">
        <pc:chgData name="Thomas Stensitzki" userId="75cafe6b-2f2a-469b-85c4-eec3b9c972ba" providerId="ADAL" clId="{363DE228-8D93-47E2-A1D5-6CB8C68569A9}" dt="2021-04-11T10:27:22.852" v="628"/>
        <pc:sldMkLst>
          <pc:docMk/>
          <pc:sldMk cId="4115615431" sldId="428"/>
        </pc:sldMkLst>
        <pc:picChg chg="add">
          <ac:chgData name="Thomas Stensitzki" userId="75cafe6b-2f2a-469b-85c4-eec3b9c972ba" providerId="ADAL" clId="{363DE228-8D93-47E2-A1D5-6CB8C68569A9}" dt="2021-04-11T10:27:22.852" v="628"/>
          <ac:picMkLst>
            <pc:docMk/>
            <pc:sldMk cId="4115615431" sldId="428"/>
            <ac:picMk id="3074" creationId="{34C63600-63F4-4247-8C21-941F3DD71546}"/>
          </ac:picMkLst>
        </pc:picChg>
      </pc:sldChg>
      <pc:sldChg chg="addSp">
        <pc:chgData name="Thomas Stensitzki" userId="75cafe6b-2f2a-469b-85c4-eec3b9c972ba" providerId="ADAL" clId="{363DE228-8D93-47E2-A1D5-6CB8C68569A9}" dt="2021-04-11T10:16:41.322" v="337"/>
        <pc:sldMkLst>
          <pc:docMk/>
          <pc:sldMk cId="257568806" sldId="429"/>
        </pc:sldMkLst>
        <pc:picChg chg="add">
          <ac:chgData name="Thomas Stensitzki" userId="75cafe6b-2f2a-469b-85c4-eec3b9c972ba" providerId="ADAL" clId="{363DE228-8D93-47E2-A1D5-6CB8C68569A9}" dt="2021-04-11T10:16:41.322" v="337"/>
          <ac:picMkLst>
            <pc:docMk/>
            <pc:sldMk cId="257568806" sldId="429"/>
            <ac:picMk id="2050" creationId="{44379D87-0985-4BAA-A1C6-AD5BA2780059}"/>
          </ac:picMkLst>
        </pc:picChg>
      </pc:sldChg>
      <pc:sldChg chg="addSp delSp modSp add del mod">
        <pc:chgData name="Thomas Stensitzki" userId="75cafe6b-2f2a-469b-85c4-eec3b9c972ba" providerId="ADAL" clId="{363DE228-8D93-47E2-A1D5-6CB8C68569A9}" dt="2021-04-11T12:37:59.075" v="2461" actId="1440"/>
        <pc:sldMkLst>
          <pc:docMk/>
          <pc:sldMk cId="3040654567" sldId="429"/>
        </pc:sldMkLst>
        <pc:spChg chg="add mod">
          <ac:chgData name="Thomas Stensitzki" userId="75cafe6b-2f2a-469b-85c4-eec3b9c972ba" providerId="ADAL" clId="{363DE228-8D93-47E2-A1D5-6CB8C68569A9}" dt="2021-04-11T10:19:35.267" v="612" actId="20577"/>
          <ac:spMkLst>
            <pc:docMk/>
            <pc:sldMk cId="3040654567" sldId="429"/>
            <ac:spMk id="3" creationId="{66725B6B-F40C-4F81-ABCA-FC50364EDBC2}"/>
          </ac:spMkLst>
        </pc:spChg>
        <pc:spChg chg="add del">
          <ac:chgData name="Thomas Stensitzki" userId="75cafe6b-2f2a-469b-85c4-eec3b9c972ba" providerId="ADAL" clId="{363DE228-8D93-47E2-A1D5-6CB8C68569A9}" dt="2021-04-11T10:16:37.131" v="336" actId="22"/>
          <ac:spMkLst>
            <pc:docMk/>
            <pc:sldMk cId="3040654567" sldId="429"/>
            <ac:spMk id="5" creationId="{0C6DCA73-62BB-477D-863C-3DFE0A9D7608}"/>
          </ac:spMkLst>
        </pc:spChg>
        <pc:picChg chg="del">
          <ac:chgData name="Thomas Stensitzki" userId="75cafe6b-2f2a-469b-85c4-eec3b9c972ba" providerId="ADAL" clId="{363DE228-8D93-47E2-A1D5-6CB8C68569A9}" dt="2021-04-11T10:16:27.676" v="334" actId="478"/>
          <ac:picMkLst>
            <pc:docMk/>
            <pc:sldMk cId="3040654567" sldId="429"/>
            <ac:picMk id="1026" creationId="{043285E5-2210-4AFC-A5D8-BFCD39482712}"/>
          </ac:picMkLst>
        </pc:picChg>
        <pc:picChg chg="mod">
          <ac:chgData name="Thomas Stensitzki" userId="75cafe6b-2f2a-469b-85c4-eec3b9c972ba" providerId="ADAL" clId="{363DE228-8D93-47E2-A1D5-6CB8C68569A9}" dt="2021-04-11T12:37:59.075" v="2461" actId="1440"/>
          <ac:picMkLst>
            <pc:docMk/>
            <pc:sldMk cId="3040654567" sldId="429"/>
            <ac:picMk id="2050" creationId="{44379D87-0985-4BAA-A1C6-AD5BA2780059}"/>
          </ac:picMkLst>
        </pc:picChg>
      </pc:sldChg>
      <pc:sldChg chg="addSp modSp add mod chgLayout">
        <pc:chgData name="Thomas Stensitzki" userId="75cafe6b-2f2a-469b-85c4-eec3b9c972ba" providerId="ADAL" clId="{363DE228-8D93-47E2-A1D5-6CB8C68569A9}" dt="2021-04-11T10:50:10.484" v="1088" actId="20577"/>
        <pc:sldMkLst>
          <pc:docMk/>
          <pc:sldMk cId="4042123349" sldId="430"/>
        </pc:sldMkLst>
        <pc:spChg chg="mod ord">
          <ac:chgData name="Thomas Stensitzki" userId="75cafe6b-2f2a-469b-85c4-eec3b9c972ba" providerId="ADAL" clId="{363DE228-8D93-47E2-A1D5-6CB8C68569A9}" dt="2021-04-11T10:48:03.879" v="899" actId="700"/>
          <ac:spMkLst>
            <pc:docMk/>
            <pc:sldMk cId="4042123349" sldId="430"/>
            <ac:spMk id="2" creationId="{11E5EEC8-6493-4BA0-8811-4A3F48FE62AF}"/>
          </ac:spMkLst>
        </pc:spChg>
        <pc:spChg chg="add mod ord">
          <ac:chgData name="Thomas Stensitzki" userId="75cafe6b-2f2a-469b-85c4-eec3b9c972ba" providerId="ADAL" clId="{363DE228-8D93-47E2-A1D5-6CB8C68569A9}" dt="2021-04-11T10:50:10.484" v="1088" actId="20577"/>
          <ac:spMkLst>
            <pc:docMk/>
            <pc:sldMk cId="4042123349" sldId="430"/>
            <ac:spMk id="3" creationId="{C38F2182-44D9-4C66-929D-0A2EE829EF3E}"/>
          </ac:spMkLst>
        </pc:spChg>
      </pc:sldChg>
      <pc:sldChg chg="modSp add del mod modNotesTx">
        <pc:chgData name="Thomas Stensitzki" userId="75cafe6b-2f2a-469b-85c4-eec3b9c972ba" providerId="ADAL" clId="{363DE228-8D93-47E2-A1D5-6CB8C68569A9}" dt="2021-04-13T16:19:07.791" v="3796" actId="1076"/>
        <pc:sldMkLst>
          <pc:docMk/>
          <pc:sldMk cId="1699899763" sldId="431"/>
        </pc:sldMkLst>
        <pc:spChg chg="mod">
          <ac:chgData name="Thomas Stensitzki" userId="75cafe6b-2f2a-469b-85c4-eec3b9c972ba" providerId="ADAL" clId="{363DE228-8D93-47E2-A1D5-6CB8C68569A9}" dt="2021-04-11T10:51:40.680" v="1108"/>
          <ac:spMkLst>
            <pc:docMk/>
            <pc:sldMk cId="1699899763" sldId="431"/>
            <ac:spMk id="2" creationId="{50183ADD-E6D0-4570-B5FB-F95BA9130DEC}"/>
          </ac:spMkLst>
        </pc:spChg>
        <pc:picChg chg="mod">
          <ac:chgData name="Thomas Stensitzki" userId="75cafe6b-2f2a-469b-85c4-eec3b9c972ba" providerId="ADAL" clId="{363DE228-8D93-47E2-A1D5-6CB8C68569A9}" dt="2021-04-13T16:19:07.791" v="3796" actId="1076"/>
          <ac:picMkLst>
            <pc:docMk/>
            <pc:sldMk cId="1699899763" sldId="431"/>
            <ac:picMk id="5122" creationId="{82A7607B-48A8-4617-A3AC-D6ECE7081D09}"/>
          </ac:picMkLst>
        </pc:picChg>
      </pc:sldChg>
      <pc:sldChg chg="addSp delSp modSp add del mod chgLayout">
        <pc:chgData name="Thomas Stensitzki" userId="75cafe6b-2f2a-469b-85c4-eec3b9c972ba" providerId="ADAL" clId="{363DE228-8D93-47E2-A1D5-6CB8C68569A9}" dt="2021-04-11T10:29:44.337" v="658" actId="2696"/>
        <pc:sldMkLst>
          <pc:docMk/>
          <pc:sldMk cId="3240557133" sldId="431"/>
        </pc:sldMkLst>
        <pc:spChg chg="mod ord">
          <ac:chgData name="Thomas Stensitzki" userId="75cafe6b-2f2a-469b-85c4-eec3b9c972ba" providerId="ADAL" clId="{363DE228-8D93-47E2-A1D5-6CB8C68569A9}" dt="2021-04-11T10:28:22.183" v="634" actId="700"/>
          <ac:spMkLst>
            <pc:docMk/>
            <pc:sldMk cId="3240557133" sldId="431"/>
            <ac:spMk id="2" creationId="{11E5EEC8-6493-4BA0-8811-4A3F48FE62AF}"/>
          </ac:spMkLst>
        </pc:spChg>
        <pc:spChg chg="add mod ord">
          <ac:chgData name="Thomas Stensitzki" userId="75cafe6b-2f2a-469b-85c4-eec3b9c972ba" providerId="ADAL" clId="{363DE228-8D93-47E2-A1D5-6CB8C68569A9}" dt="2021-04-11T10:29:15.899" v="657" actId="20577"/>
          <ac:spMkLst>
            <pc:docMk/>
            <pc:sldMk cId="3240557133" sldId="431"/>
            <ac:spMk id="3" creationId="{45908EBD-EAC5-4CB4-94A5-D30E0B68152C}"/>
          </ac:spMkLst>
        </pc:spChg>
        <pc:picChg chg="del">
          <ac:chgData name="Thomas Stensitzki" userId="75cafe6b-2f2a-469b-85c4-eec3b9c972ba" providerId="ADAL" clId="{363DE228-8D93-47E2-A1D5-6CB8C68569A9}" dt="2021-04-11T10:28:18.495" v="633" actId="478"/>
          <ac:picMkLst>
            <pc:docMk/>
            <pc:sldMk cId="3240557133" sldId="431"/>
            <ac:picMk id="3074" creationId="{34C63600-63F4-4247-8C21-941F3DD71546}"/>
          </ac:picMkLst>
        </pc:picChg>
      </pc:sldChg>
      <pc:sldChg chg="addSp">
        <pc:chgData name="Thomas Stensitzki" userId="75cafe6b-2f2a-469b-85c4-eec3b9c972ba" providerId="ADAL" clId="{363DE228-8D93-47E2-A1D5-6CB8C68569A9}" dt="2021-04-11T10:51:45.946" v="1109"/>
        <pc:sldMkLst>
          <pc:docMk/>
          <pc:sldMk cId="3409143287" sldId="431"/>
        </pc:sldMkLst>
        <pc:picChg chg="add">
          <ac:chgData name="Thomas Stensitzki" userId="75cafe6b-2f2a-469b-85c4-eec3b9c972ba" providerId="ADAL" clId="{363DE228-8D93-47E2-A1D5-6CB8C68569A9}" dt="2021-04-11T10:51:45.946" v="1109"/>
          <ac:picMkLst>
            <pc:docMk/>
            <pc:sldMk cId="3409143287" sldId="431"/>
            <ac:picMk id="5122" creationId="{82A7607B-48A8-4617-A3AC-D6ECE7081D09}"/>
          </ac:picMkLst>
        </pc:picChg>
      </pc:sldChg>
      <pc:sldChg chg="addSp">
        <pc:chgData name="Thomas Stensitzki" userId="75cafe6b-2f2a-469b-85c4-eec3b9c972ba" providerId="ADAL" clId="{363DE228-8D93-47E2-A1D5-6CB8C68569A9}" dt="2021-04-11T12:39:11.246" v="2485"/>
        <pc:sldMkLst>
          <pc:docMk/>
          <pc:sldMk cId="3392416001" sldId="432"/>
        </pc:sldMkLst>
        <pc:picChg chg="add">
          <ac:chgData name="Thomas Stensitzki" userId="75cafe6b-2f2a-469b-85c4-eec3b9c972ba" providerId="ADAL" clId="{363DE228-8D93-47E2-A1D5-6CB8C68569A9}" dt="2021-04-11T12:39:11.246" v="2485"/>
          <ac:picMkLst>
            <pc:docMk/>
            <pc:sldMk cId="3392416001" sldId="432"/>
            <ac:picMk id="26626" creationId="{3663870A-A009-4064-85E8-BB1974DE3D4A}"/>
          </ac:picMkLst>
        </pc:picChg>
      </pc:sldChg>
      <pc:sldChg chg="addSp delSp modSp add del mod modNotesTx">
        <pc:chgData name="Thomas Stensitzki" userId="75cafe6b-2f2a-469b-85c4-eec3b9c972ba" providerId="ADAL" clId="{363DE228-8D93-47E2-A1D5-6CB8C68569A9}" dt="2021-04-13T16:14:23.877" v="3715" actId="1440"/>
        <pc:sldMkLst>
          <pc:docMk/>
          <pc:sldMk cId="3748413395" sldId="432"/>
        </pc:sldMkLst>
        <pc:spChg chg="mod">
          <ac:chgData name="Thomas Stensitzki" userId="75cafe6b-2f2a-469b-85c4-eec3b9c972ba" providerId="ADAL" clId="{363DE228-8D93-47E2-A1D5-6CB8C68569A9}" dt="2021-04-13T16:10:05.745" v="3472" actId="20577"/>
          <ac:spMkLst>
            <pc:docMk/>
            <pc:sldMk cId="3748413395" sldId="432"/>
            <ac:spMk id="2" creationId="{11E5EEC8-6493-4BA0-8811-4A3F48FE62AF}"/>
          </ac:spMkLst>
        </pc:spChg>
        <pc:spChg chg="add del">
          <ac:chgData name="Thomas Stensitzki" userId="75cafe6b-2f2a-469b-85c4-eec3b9c972ba" providerId="ADAL" clId="{363DE228-8D93-47E2-A1D5-6CB8C68569A9}" dt="2021-04-11T12:39:28.733" v="2490" actId="22"/>
          <ac:spMkLst>
            <pc:docMk/>
            <pc:sldMk cId="3748413395" sldId="432"/>
            <ac:spMk id="5" creationId="{A2968577-50C0-484C-8753-D556C4E05ECD}"/>
          </ac:spMkLst>
        </pc:spChg>
        <pc:picChg chg="mod">
          <ac:chgData name="Thomas Stensitzki" userId="75cafe6b-2f2a-469b-85c4-eec3b9c972ba" providerId="ADAL" clId="{363DE228-8D93-47E2-A1D5-6CB8C68569A9}" dt="2021-04-13T16:14:23.877" v="3715" actId="1440"/>
          <ac:picMkLst>
            <pc:docMk/>
            <pc:sldMk cId="3748413395" sldId="432"/>
            <ac:picMk id="26626" creationId="{3663870A-A009-4064-85E8-BB1974DE3D4A}"/>
          </ac:picMkLst>
        </pc:picChg>
      </pc:sldChg>
      <pc:sldChg chg="addSp modSp add del mod">
        <pc:chgData name="Thomas Stensitzki" userId="75cafe6b-2f2a-469b-85c4-eec3b9c972ba" providerId="ADAL" clId="{363DE228-8D93-47E2-A1D5-6CB8C68569A9}" dt="2021-04-13T16:24:25.524" v="3812" actId="1076"/>
        <pc:sldMkLst>
          <pc:docMk/>
          <pc:sldMk cId="2909965873" sldId="433"/>
        </pc:sldMkLst>
        <pc:spChg chg="mod">
          <ac:chgData name="Thomas Stensitzki" userId="75cafe6b-2f2a-469b-85c4-eec3b9c972ba" providerId="ADAL" clId="{363DE228-8D93-47E2-A1D5-6CB8C68569A9}" dt="2021-04-11T10:54:53.640" v="1145" actId="20577"/>
          <ac:spMkLst>
            <pc:docMk/>
            <pc:sldMk cId="2909965873" sldId="433"/>
            <ac:spMk id="2" creationId="{50183ADD-E6D0-4570-B5FB-F95BA9130DEC}"/>
          </ac:spMkLst>
        </pc:spChg>
        <pc:spChg chg="add mod">
          <ac:chgData name="Thomas Stensitzki" userId="75cafe6b-2f2a-469b-85c4-eec3b9c972ba" providerId="ADAL" clId="{363DE228-8D93-47E2-A1D5-6CB8C68569A9}" dt="2021-04-13T16:24:25.524" v="3812" actId="1076"/>
          <ac:spMkLst>
            <pc:docMk/>
            <pc:sldMk cId="2909965873" sldId="433"/>
            <ac:spMk id="3" creationId="{AD078534-9302-46DB-A5FB-C9704F4A8A12}"/>
          </ac:spMkLst>
        </pc:spChg>
        <pc:picChg chg="add mod">
          <ac:chgData name="Thomas Stensitzki" userId="75cafe6b-2f2a-469b-85c4-eec3b9c972ba" providerId="ADAL" clId="{363DE228-8D93-47E2-A1D5-6CB8C68569A9}" dt="2021-04-13T16:20:44.610" v="3805" actId="1076"/>
          <ac:picMkLst>
            <pc:docMk/>
            <pc:sldMk cId="2909965873" sldId="433"/>
            <ac:picMk id="4" creationId="{750D8E2A-B2B9-4C20-BCD6-22AA82D82ABF}"/>
          </ac:picMkLst>
        </pc:picChg>
        <pc:picChg chg="mod">
          <ac:chgData name="Thomas Stensitzki" userId="75cafe6b-2f2a-469b-85c4-eec3b9c972ba" providerId="ADAL" clId="{363DE228-8D93-47E2-A1D5-6CB8C68569A9}" dt="2021-04-13T16:20:46.926" v="3806" actId="1076"/>
          <ac:picMkLst>
            <pc:docMk/>
            <pc:sldMk cId="2909965873" sldId="433"/>
            <ac:picMk id="8194" creationId="{7555D992-F803-412F-81A8-785927F5F17C}"/>
          </ac:picMkLst>
        </pc:picChg>
      </pc:sldChg>
      <pc:sldChg chg="addSp">
        <pc:chgData name="Thomas Stensitzki" userId="75cafe6b-2f2a-469b-85c4-eec3b9c972ba" providerId="ADAL" clId="{363DE228-8D93-47E2-A1D5-6CB8C68569A9}" dt="2021-04-11T10:54:59.110" v="1146"/>
        <pc:sldMkLst>
          <pc:docMk/>
          <pc:sldMk cId="4177504589" sldId="433"/>
        </pc:sldMkLst>
        <pc:picChg chg="add">
          <ac:chgData name="Thomas Stensitzki" userId="75cafe6b-2f2a-469b-85c4-eec3b9c972ba" providerId="ADAL" clId="{363DE228-8D93-47E2-A1D5-6CB8C68569A9}" dt="2021-04-11T10:54:59.110" v="1146"/>
          <ac:picMkLst>
            <pc:docMk/>
            <pc:sldMk cId="4177504589" sldId="433"/>
            <ac:picMk id="8194" creationId="{7555D992-F803-412F-81A8-785927F5F17C}"/>
          </ac:picMkLst>
        </pc:picChg>
      </pc:sldChg>
      <pc:sldChg chg="delSp modSp add del">
        <pc:chgData name="Thomas Stensitzki" userId="75cafe6b-2f2a-469b-85c4-eec3b9c972ba" providerId="ADAL" clId="{363DE228-8D93-47E2-A1D5-6CB8C68569A9}" dt="2021-04-11T10:53:01.072" v="1126" actId="1440"/>
        <pc:sldMkLst>
          <pc:docMk/>
          <pc:sldMk cId="2687296234" sldId="434"/>
        </pc:sldMkLst>
        <pc:picChg chg="del">
          <ac:chgData name="Thomas Stensitzki" userId="75cafe6b-2f2a-469b-85c4-eec3b9c972ba" providerId="ADAL" clId="{363DE228-8D93-47E2-A1D5-6CB8C68569A9}" dt="2021-04-11T10:52:09.510" v="1114" actId="478"/>
          <ac:picMkLst>
            <pc:docMk/>
            <pc:sldMk cId="2687296234" sldId="434"/>
            <ac:picMk id="5122" creationId="{82A7607B-48A8-4617-A3AC-D6ECE7081D09}"/>
          </ac:picMkLst>
        </pc:picChg>
        <pc:picChg chg="mod">
          <ac:chgData name="Thomas Stensitzki" userId="75cafe6b-2f2a-469b-85c4-eec3b9c972ba" providerId="ADAL" clId="{363DE228-8D93-47E2-A1D5-6CB8C68569A9}" dt="2021-04-11T10:53:01.072" v="1126" actId="1440"/>
          <ac:picMkLst>
            <pc:docMk/>
            <pc:sldMk cId="2687296234" sldId="434"/>
            <ac:picMk id="6146" creationId="{92D81F6E-E9E8-423F-B476-C9A7B153E4F5}"/>
          </ac:picMkLst>
        </pc:picChg>
        <pc:picChg chg="mod">
          <ac:chgData name="Thomas Stensitzki" userId="75cafe6b-2f2a-469b-85c4-eec3b9c972ba" providerId="ADAL" clId="{363DE228-8D93-47E2-A1D5-6CB8C68569A9}" dt="2021-04-11T10:52:59.108" v="1125" actId="1440"/>
          <ac:picMkLst>
            <pc:docMk/>
            <pc:sldMk cId="2687296234" sldId="434"/>
            <ac:picMk id="7170" creationId="{13327137-1C18-483A-89C4-A6B02C1839BA}"/>
          </ac:picMkLst>
        </pc:picChg>
      </pc:sldChg>
      <pc:sldChg chg="addSp">
        <pc:chgData name="Thomas Stensitzki" userId="75cafe6b-2f2a-469b-85c4-eec3b9c972ba" providerId="ADAL" clId="{363DE228-8D93-47E2-A1D5-6CB8C68569A9}" dt="2021-04-11T10:52:13.159" v="1115"/>
        <pc:sldMkLst>
          <pc:docMk/>
          <pc:sldMk cId="2895350850" sldId="434"/>
        </pc:sldMkLst>
        <pc:picChg chg="add">
          <ac:chgData name="Thomas Stensitzki" userId="75cafe6b-2f2a-469b-85c4-eec3b9c972ba" providerId="ADAL" clId="{363DE228-8D93-47E2-A1D5-6CB8C68569A9}" dt="2021-04-11T10:52:13.159" v="1115"/>
          <ac:picMkLst>
            <pc:docMk/>
            <pc:sldMk cId="2895350850" sldId="434"/>
            <ac:picMk id="6146" creationId="{92D81F6E-E9E8-423F-B476-C9A7B153E4F5}"/>
          </ac:picMkLst>
        </pc:picChg>
      </pc:sldChg>
      <pc:sldChg chg="addSp">
        <pc:chgData name="Thomas Stensitzki" userId="75cafe6b-2f2a-469b-85c4-eec3b9c972ba" providerId="ADAL" clId="{363DE228-8D93-47E2-A1D5-6CB8C68569A9}" dt="2021-04-11T10:52:27" v="1119"/>
        <pc:sldMkLst>
          <pc:docMk/>
          <pc:sldMk cId="3634695529" sldId="434"/>
        </pc:sldMkLst>
        <pc:picChg chg="add">
          <ac:chgData name="Thomas Stensitzki" userId="75cafe6b-2f2a-469b-85c4-eec3b9c972ba" providerId="ADAL" clId="{363DE228-8D93-47E2-A1D5-6CB8C68569A9}" dt="2021-04-11T10:52:27" v="1119"/>
          <ac:picMkLst>
            <pc:docMk/>
            <pc:sldMk cId="3634695529" sldId="434"/>
            <ac:picMk id="7170" creationId="{13327137-1C18-483A-89C4-A6B02C1839BA}"/>
          </ac:picMkLst>
        </pc:picChg>
      </pc:sldChg>
      <pc:sldChg chg="addSp">
        <pc:chgData name="Thomas Stensitzki" userId="75cafe6b-2f2a-469b-85c4-eec3b9c972ba" providerId="ADAL" clId="{363DE228-8D93-47E2-A1D5-6CB8C68569A9}" dt="2021-04-11T11:04:49.791" v="1326"/>
        <pc:sldMkLst>
          <pc:docMk/>
          <pc:sldMk cId="887293857" sldId="435"/>
        </pc:sldMkLst>
        <pc:picChg chg="add">
          <ac:chgData name="Thomas Stensitzki" userId="75cafe6b-2f2a-469b-85c4-eec3b9c972ba" providerId="ADAL" clId="{363DE228-8D93-47E2-A1D5-6CB8C68569A9}" dt="2021-04-11T11:04:49.791" v="1326"/>
          <ac:picMkLst>
            <pc:docMk/>
            <pc:sldMk cId="887293857" sldId="435"/>
            <ac:picMk id="9218" creationId="{D3A02A13-26FD-41D8-B700-08CA3E901D2E}"/>
          </ac:picMkLst>
        </pc:picChg>
      </pc:sldChg>
      <pc:sldChg chg="modSp add del mod">
        <pc:chgData name="Thomas Stensitzki" userId="75cafe6b-2f2a-469b-85c4-eec3b9c972ba" providerId="ADAL" clId="{363DE228-8D93-47E2-A1D5-6CB8C68569A9}" dt="2021-04-11T11:05:09.825" v="1329" actId="1440"/>
        <pc:sldMkLst>
          <pc:docMk/>
          <pc:sldMk cId="3916441034" sldId="435"/>
        </pc:sldMkLst>
        <pc:spChg chg="mod">
          <ac:chgData name="Thomas Stensitzki" userId="75cafe6b-2f2a-469b-85c4-eec3b9c972ba" providerId="ADAL" clId="{363DE228-8D93-47E2-A1D5-6CB8C68569A9}" dt="2021-04-11T11:04:45.627" v="1325"/>
          <ac:spMkLst>
            <pc:docMk/>
            <pc:sldMk cId="3916441034" sldId="435"/>
            <ac:spMk id="2" creationId="{50183ADD-E6D0-4570-B5FB-F95BA9130DEC}"/>
          </ac:spMkLst>
        </pc:spChg>
        <pc:picChg chg="mod">
          <ac:chgData name="Thomas Stensitzki" userId="75cafe6b-2f2a-469b-85c4-eec3b9c972ba" providerId="ADAL" clId="{363DE228-8D93-47E2-A1D5-6CB8C68569A9}" dt="2021-04-11T11:05:09.825" v="1329" actId="1440"/>
          <ac:picMkLst>
            <pc:docMk/>
            <pc:sldMk cId="3916441034" sldId="435"/>
            <ac:picMk id="9218" creationId="{D3A02A13-26FD-41D8-B700-08CA3E901D2E}"/>
          </ac:picMkLst>
        </pc:picChg>
      </pc:sldChg>
      <pc:sldChg chg="modSp add del mod modNotesTx">
        <pc:chgData name="Thomas Stensitzki" userId="75cafe6b-2f2a-469b-85c4-eec3b9c972ba" providerId="ADAL" clId="{363DE228-8D93-47E2-A1D5-6CB8C68569A9}" dt="2021-04-11T10:59:00.719" v="1242" actId="47"/>
        <pc:sldMkLst>
          <pc:docMk/>
          <pc:sldMk cId="2634348727" sldId="436"/>
        </pc:sldMkLst>
        <pc:spChg chg="mod">
          <ac:chgData name="Thomas Stensitzki" userId="75cafe6b-2f2a-469b-85c4-eec3b9c972ba" providerId="ADAL" clId="{363DE228-8D93-47E2-A1D5-6CB8C68569A9}" dt="2021-04-11T10:57:37.157" v="1204" actId="14100"/>
          <ac:spMkLst>
            <pc:docMk/>
            <pc:sldMk cId="2634348727" sldId="436"/>
            <ac:spMk id="2" creationId="{909DC09D-B9A6-4493-9A72-1CA7ECB1F5CA}"/>
          </ac:spMkLst>
        </pc:spChg>
        <pc:spChg chg="mod">
          <ac:chgData name="Thomas Stensitzki" userId="75cafe6b-2f2a-469b-85c4-eec3b9c972ba" providerId="ADAL" clId="{363DE228-8D93-47E2-A1D5-6CB8C68569A9}" dt="2021-04-11T10:58:42.621" v="1241" actId="108"/>
          <ac:spMkLst>
            <pc:docMk/>
            <pc:sldMk cId="2634348727" sldId="436"/>
            <ac:spMk id="5" creationId="{C24DACB5-1BEC-4C86-9652-BAFD8DE56FEF}"/>
          </ac:spMkLst>
        </pc:spChg>
      </pc:sldChg>
      <pc:sldChg chg="modSp add del mod">
        <pc:chgData name="Thomas Stensitzki" userId="75cafe6b-2f2a-469b-85c4-eec3b9c972ba" providerId="ADAL" clId="{363DE228-8D93-47E2-A1D5-6CB8C68569A9}" dt="2021-04-11T12:44:24.984" v="2516" actId="1076"/>
        <pc:sldMkLst>
          <pc:docMk/>
          <pc:sldMk cId="2665106704" sldId="437"/>
        </pc:sldMkLst>
        <pc:spChg chg="mod">
          <ac:chgData name="Thomas Stensitzki" userId="75cafe6b-2f2a-469b-85c4-eec3b9c972ba" providerId="ADAL" clId="{363DE228-8D93-47E2-A1D5-6CB8C68569A9}" dt="2021-04-11T12:44:17.106" v="2513"/>
          <ac:spMkLst>
            <pc:docMk/>
            <pc:sldMk cId="2665106704" sldId="437"/>
            <ac:spMk id="2" creationId="{11E5EEC8-6493-4BA0-8811-4A3F48FE62AF}"/>
          </ac:spMkLst>
        </pc:spChg>
        <pc:picChg chg="mod">
          <ac:chgData name="Thomas Stensitzki" userId="75cafe6b-2f2a-469b-85c4-eec3b9c972ba" providerId="ADAL" clId="{363DE228-8D93-47E2-A1D5-6CB8C68569A9}" dt="2021-04-11T12:44:24.984" v="2516" actId="1076"/>
          <ac:picMkLst>
            <pc:docMk/>
            <pc:sldMk cId="2665106704" sldId="437"/>
            <ac:picMk id="27650" creationId="{FD39F129-7796-4810-9C7D-E4C220E4CF67}"/>
          </ac:picMkLst>
        </pc:picChg>
      </pc:sldChg>
      <pc:sldChg chg="addSp">
        <pc:chgData name="Thomas Stensitzki" userId="75cafe6b-2f2a-469b-85c4-eec3b9c972ba" providerId="ADAL" clId="{363DE228-8D93-47E2-A1D5-6CB8C68569A9}" dt="2021-04-11T12:44:22.143" v="2514"/>
        <pc:sldMkLst>
          <pc:docMk/>
          <pc:sldMk cId="4058580615" sldId="437"/>
        </pc:sldMkLst>
        <pc:picChg chg="add">
          <ac:chgData name="Thomas Stensitzki" userId="75cafe6b-2f2a-469b-85c4-eec3b9c972ba" providerId="ADAL" clId="{363DE228-8D93-47E2-A1D5-6CB8C68569A9}" dt="2021-04-11T12:44:22.143" v="2514"/>
          <ac:picMkLst>
            <pc:docMk/>
            <pc:sldMk cId="4058580615" sldId="437"/>
            <ac:picMk id="27650" creationId="{FD39F129-7796-4810-9C7D-E4C220E4CF67}"/>
          </ac:picMkLst>
        </pc:picChg>
      </pc:sldChg>
      <pc:sldChg chg="modSp add mod ord modNotesTx">
        <pc:chgData name="Thomas Stensitzki" userId="75cafe6b-2f2a-469b-85c4-eec3b9c972ba" providerId="ADAL" clId="{363DE228-8D93-47E2-A1D5-6CB8C68569A9}" dt="2021-04-13T16:04:47.051" v="3178" actId="20577"/>
        <pc:sldMkLst>
          <pc:docMk/>
          <pc:sldMk cId="1968010775" sldId="438"/>
        </pc:sldMkLst>
        <pc:spChg chg="mod">
          <ac:chgData name="Thomas Stensitzki" userId="75cafe6b-2f2a-469b-85c4-eec3b9c972ba" providerId="ADAL" clId="{363DE228-8D93-47E2-A1D5-6CB8C68569A9}" dt="2021-04-13T16:04:47.051" v="3178" actId="20577"/>
          <ac:spMkLst>
            <pc:docMk/>
            <pc:sldMk cId="1968010775" sldId="438"/>
            <ac:spMk id="5" creationId="{C24DACB5-1BEC-4C86-9652-BAFD8DE56FEF}"/>
          </ac:spMkLst>
        </pc:spChg>
      </pc:sldChg>
      <pc:sldChg chg="modSp add mod ord modNotesTx">
        <pc:chgData name="Thomas Stensitzki" userId="75cafe6b-2f2a-469b-85c4-eec3b9c972ba" providerId="ADAL" clId="{363DE228-8D93-47E2-A1D5-6CB8C68569A9}" dt="2021-04-13T16:13:41.313" v="3660" actId="6549"/>
        <pc:sldMkLst>
          <pc:docMk/>
          <pc:sldMk cId="2987264023" sldId="439"/>
        </pc:sldMkLst>
        <pc:spChg chg="mod">
          <ac:chgData name="Thomas Stensitzki" userId="75cafe6b-2f2a-469b-85c4-eec3b9c972ba" providerId="ADAL" clId="{363DE228-8D93-47E2-A1D5-6CB8C68569A9}" dt="2021-04-13T16:12:56.672" v="3595" actId="14100"/>
          <ac:spMkLst>
            <pc:docMk/>
            <pc:sldMk cId="2987264023" sldId="439"/>
            <ac:spMk id="2" creationId="{909DC09D-B9A6-4493-9A72-1CA7ECB1F5CA}"/>
          </ac:spMkLst>
        </pc:spChg>
        <pc:spChg chg="mod">
          <ac:chgData name="Thomas Stensitzki" userId="75cafe6b-2f2a-469b-85c4-eec3b9c972ba" providerId="ADAL" clId="{363DE228-8D93-47E2-A1D5-6CB8C68569A9}" dt="2021-04-13T16:08:44.443" v="3468" actId="20577"/>
          <ac:spMkLst>
            <pc:docMk/>
            <pc:sldMk cId="2987264023" sldId="439"/>
            <ac:spMk id="5" creationId="{C24DACB5-1BEC-4C86-9652-BAFD8DE56FEF}"/>
          </ac:spMkLst>
        </pc:spChg>
      </pc:sldChg>
      <pc:sldChg chg="addSp delSp modSp add del mod modNotesTx">
        <pc:chgData name="Thomas Stensitzki" userId="75cafe6b-2f2a-469b-85c4-eec3b9c972ba" providerId="ADAL" clId="{363DE228-8D93-47E2-A1D5-6CB8C68569A9}" dt="2021-04-11T12:37:45.059" v="2458" actId="1440"/>
        <pc:sldMkLst>
          <pc:docMk/>
          <pc:sldMk cId="1174508103" sldId="440"/>
        </pc:sldMkLst>
        <pc:spChg chg="mod">
          <ac:chgData name="Thomas Stensitzki" userId="75cafe6b-2f2a-469b-85c4-eec3b9c972ba" providerId="ADAL" clId="{363DE228-8D93-47E2-A1D5-6CB8C68569A9}" dt="2021-04-11T11:07:20.765" v="1344"/>
          <ac:spMkLst>
            <pc:docMk/>
            <pc:sldMk cId="1174508103" sldId="440"/>
            <ac:spMk id="2" creationId="{50183ADD-E6D0-4570-B5FB-F95BA9130DEC}"/>
          </ac:spMkLst>
        </pc:spChg>
        <pc:spChg chg="add del">
          <ac:chgData name="Thomas Stensitzki" userId="75cafe6b-2f2a-469b-85c4-eec3b9c972ba" providerId="ADAL" clId="{363DE228-8D93-47E2-A1D5-6CB8C68569A9}" dt="2021-04-11T11:08:34.453" v="1354" actId="478"/>
          <ac:spMkLst>
            <pc:docMk/>
            <pc:sldMk cId="1174508103" sldId="440"/>
            <ac:spMk id="5" creationId="{5C1E7465-D3BE-4DAF-94E7-7205D4418D86}"/>
          </ac:spMkLst>
        </pc:spChg>
        <pc:picChg chg="mod">
          <ac:chgData name="Thomas Stensitzki" userId="75cafe6b-2f2a-469b-85c4-eec3b9c972ba" providerId="ADAL" clId="{363DE228-8D93-47E2-A1D5-6CB8C68569A9}" dt="2021-04-11T12:37:45.059" v="2458" actId="1440"/>
          <ac:picMkLst>
            <pc:docMk/>
            <pc:sldMk cId="1174508103" sldId="440"/>
            <ac:picMk id="10242" creationId="{0282E682-DF59-4945-9355-C607E45806E4}"/>
          </ac:picMkLst>
        </pc:picChg>
      </pc:sldChg>
      <pc:sldChg chg="addSp">
        <pc:chgData name="Thomas Stensitzki" userId="75cafe6b-2f2a-469b-85c4-eec3b9c972ba" providerId="ADAL" clId="{363DE228-8D93-47E2-A1D5-6CB8C68569A9}" dt="2021-04-11T11:07:47.962" v="1345"/>
        <pc:sldMkLst>
          <pc:docMk/>
          <pc:sldMk cId="2499793211" sldId="440"/>
        </pc:sldMkLst>
        <pc:picChg chg="add">
          <ac:chgData name="Thomas Stensitzki" userId="75cafe6b-2f2a-469b-85c4-eec3b9c972ba" providerId="ADAL" clId="{363DE228-8D93-47E2-A1D5-6CB8C68569A9}" dt="2021-04-11T11:07:47.962" v="1345"/>
          <ac:picMkLst>
            <pc:docMk/>
            <pc:sldMk cId="2499793211" sldId="440"/>
            <ac:picMk id="10242" creationId="{0282E682-DF59-4945-9355-C607E45806E4}"/>
          </ac:picMkLst>
        </pc:picChg>
      </pc:sldChg>
      <pc:sldChg chg="addSp">
        <pc:chgData name="Thomas Stensitzki" userId="75cafe6b-2f2a-469b-85c4-eec3b9c972ba" providerId="ADAL" clId="{363DE228-8D93-47E2-A1D5-6CB8C68569A9}" dt="2021-04-11T11:13:54.324" v="1471"/>
        <pc:sldMkLst>
          <pc:docMk/>
          <pc:sldMk cId="260459853" sldId="441"/>
        </pc:sldMkLst>
        <pc:picChg chg="add">
          <ac:chgData name="Thomas Stensitzki" userId="75cafe6b-2f2a-469b-85c4-eec3b9c972ba" providerId="ADAL" clId="{363DE228-8D93-47E2-A1D5-6CB8C68569A9}" dt="2021-04-11T11:13:54.324" v="1471"/>
          <ac:picMkLst>
            <pc:docMk/>
            <pc:sldMk cId="260459853" sldId="441"/>
            <ac:picMk id="13314" creationId="{84B9686C-48C0-45C9-AD07-90660856CC97}"/>
          </ac:picMkLst>
        </pc:picChg>
      </pc:sldChg>
      <pc:sldChg chg="addSp modSp add del mod">
        <pc:chgData name="Thomas Stensitzki" userId="75cafe6b-2f2a-469b-85c4-eec3b9c972ba" providerId="ADAL" clId="{363DE228-8D93-47E2-A1D5-6CB8C68569A9}" dt="2021-04-13T16:27:37.624" v="3871" actId="14100"/>
        <pc:sldMkLst>
          <pc:docMk/>
          <pc:sldMk cId="1134792597" sldId="441"/>
        </pc:sldMkLst>
        <pc:spChg chg="mod">
          <ac:chgData name="Thomas Stensitzki" userId="75cafe6b-2f2a-469b-85c4-eec3b9c972ba" providerId="ADAL" clId="{363DE228-8D93-47E2-A1D5-6CB8C68569A9}" dt="2021-04-11T11:13:50.672" v="1470"/>
          <ac:spMkLst>
            <pc:docMk/>
            <pc:sldMk cId="1134792597" sldId="441"/>
            <ac:spMk id="2" creationId="{50183ADD-E6D0-4570-B5FB-F95BA9130DEC}"/>
          </ac:spMkLst>
        </pc:spChg>
        <pc:spChg chg="add mod">
          <ac:chgData name="Thomas Stensitzki" userId="75cafe6b-2f2a-469b-85c4-eec3b9c972ba" providerId="ADAL" clId="{363DE228-8D93-47E2-A1D5-6CB8C68569A9}" dt="2021-04-13T16:27:37.624" v="3871" actId="14100"/>
          <ac:spMkLst>
            <pc:docMk/>
            <pc:sldMk cId="1134792597" sldId="441"/>
            <ac:spMk id="3" creationId="{C5673F5D-A124-49F9-A94A-8B2D2411BE61}"/>
          </ac:spMkLst>
        </pc:spChg>
        <pc:picChg chg="mod">
          <ac:chgData name="Thomas Stensitzki" userId="75cafe6b-2f2a-469b-85c4-eec3b9c972ba" providerId="ADAL" clId="{363DE228-8D93-47E2-A1D5-6CB8C68569A9}" dt="2021-04-13T16:26:40.571" v="3865" actId="1036"/>
          <ac:picMkLst>
            <pc:docMk/>
            <pc:sldMk cId="1134792597" sldId="441"/>
            <ac:picMk id="13314" creationId="{84B9686C-48C0-45C9-AD07-90660856CC97}"/>
          </ac:picMkLst>
        </pc:picChg>
      </pc:sldChg>
      <pc:sldChg chg="addSp">
        <pc:chgData name="Thomas Stensitzki" userId="75cafe6b-2f2a-469b-85c4-eec3b9c972ba" providerId="ADAL" clId="{363DE228-8D93-47E2-A1D5-6CB8C68569A9}" dt="2021-04-11T11:08:38.735" v="1356"/>
        <pc:sldMkLst>
          <pc:docMk/>
          <pc:sldMk cId="429761498" sldId="442"/>
        </pc:sldMkLst>
        <pc:picChg chg="add">
          <ac:chgData name="Thomas Stensitzki" userId="75cafe6b-2f2a-469b-85c4-eec3b9c972ba" providerId="ADAL" clId="{363DE228-8D93-47E2-A1D5-6CB8C68569A9}" dt="2021-04-11T11:08:38.735" v="1356"/>
          <ac:picMkLst>
            <pc:docMk/>
            <pc:sldMk cId="429761498" sldId="442"/>
            <ac:picMk id="11266" creationId="{960DDDFF-56CC-481E-9B48-90E1A58D7A39}"/>
          </ac:picMkLst>
        </pc:picChg>
      </pc:sldChg>
      <pc:sldChg chg="addSp">
        <pc:chgData name="Thomas Stensitzki" userId="75cafe6b-2f2a-469b-85c4-eec3b9c972ba" providerId="ADAL" clId="{363DE228-8D93-47E2-A1D5-6CB8C68569A9}" dt="2021-04-11T11:09:45.179" v="1361"/>
        <pc:sldMkLst>
          <pc:docMk/>
          <pc:sldMk cId="1411663160" sldId="442"/>
        </pc:sldMkLst>
        <pc:picChg chg="add">
          <ac:chgData name="Thomas Stensitzki" userId="75cafe6b-2f2a-469b-85c4-eec3b9c972ba" providerId="ADAL" clId="{363DE228-8D93-47E2-A1D5-6CB8C68569A9}" dt="2021-04-11T11:09:45.179" v="1361"/>
          <ac:picMkLst>
            <pc:docMk/>
            <pc:sldMk cId="1411663160" sldId="442"/>
            <ac:picMk id="12290" creationId="{01009F62-B242-48CC-8117-02C2E562F017}"/>
          </ac:picMkLst>
        </pc:picChg>
      </pc:sldChg>
      <pc:sldChg chg="delSp modSp add del mod">
        <pc:chgData name="Thomas Stensitzki" userId="75cafe6b-2f2a-469b-85c4-eec3b9c972ba" providerId="ADAL" clId="{363DE228-8D93-47E2-A1D5-6CB8C68569A9}" dt="2021-04-13T16:26:31.793" v="3849" actId="1035"/>
        <pc:sldMkLst>
          <pc:docMk/>
          <pc:sldMk cId="3082151148" sldId="442"/>
        </pc:sldMkLst>
        <pc:spChg chg="del">
          <ac:chgData name="Thomas Stensitzki" userId="75cafe6b-2f2a-469b-85c4-eec3b9c972ba" providerId="ADAL" clId="{363DE228-8D93-47E2-A1D5-6CB8C68569A9}" dt="2021-04-11T11:08:37.412" v="1355" actId="478"/>
          <ac:spMkLst>
            <pc:docMk/>
            <pc:sldMk cId="3082151148" sldId="442"/>
            <ac:spMk id="5" creationId="{5C1E7465-D3BE-4DAF-94E7-7205D4418D86}"/>
          </ac:spMkLst>
        </pc:spChg>
        <pc:picChg chg="del">
          <ac:chgData name="Thomas Stensitzki" userId="75cafe6b-2f2a-469b-85c4-eec3b9c972ba" providerId="ADAL" clId="{363DE228-8D93-47E2-A1D5-6CB8C68569A9}" dt="2021-04-11T11:08:25.034" v="1353" actId="478"/>
          <ac:picMkLst>
            <pc:docMk/>
            <pc:sldMk cId="3082151148" sldId="442"/>
            <ac:picMk id="10242" creationId="{0282E682-DF59-4945-9355-C607E45806E4}"/>
          </ac:picMkLst>
        </pc:picChg>
        <pc:picChg chg="mod">
          <ac:chgData name="Thomas Stensitzki" userId="75cafe6b-2f2a-469b-85c4-eec3b9c972ba" providerId="ADAL" clId="{363DE228-8D93-47E2-A1D5-6CB8C68569A9}" dt="2021-04-13T16:26:31.793" v="3849" actId="1035"/>
          <ac:picMkLst>
            <pc:docMk/>
            <pc:sldMk cId="3082151148" sldId="442"/>
            <ac:picMk id="11266" creationId="{960DDDFF-56CC-481E-9B48-90E1A58D7A39}"/>
          </ac:picMkLst>
        </pc:picChg>
        <pc:picChg chg="mod">
          <ac:chgData name="Thomas Stensitzki" userId="75cafe6b-2f2a-469b-85c4-eec3b9c972ba" providerId="ADAL" clId="{363DE228-8D93-47E2-A1D5-6CB8C68569A9}" dt="2021-04-13T16:26:27.473" v="3838" actId="1036"/>
          <ac:picMkLst>
            <pc:docMk/>
            <pc:sldMk cId="3082151148" sldId="442"/>
            <ac:picMk id="12290" creationId="{01009F62-B242-48CC-8117-02C2E562F017}"/>
          </ac:picMkLst>
        </pc:picChg>
      </pc:sldChg>
      <pc:sldChg chg="addSp modSp add del mod chgLayout">
        <pc:chgData name="Thomas Stensitzki" userId="75cafe6b-2f2a-469b-85c4-eec3b9c972ba" providerId="ADAL" clId="{363DE228-8D93-47E2-A1D5-6CB8C68569A9}" dt="2021-04-13T16:30:27.207" v="3874" actId="1076"/>
        <pc:sldMkLst>
          <pc:docMk/>
          <pc:sldMk cId="2894310663" sldId="443"/>
        </pc:sldMkLst>
        <pc:spChg chg="mod ord">
          <ac:chgData name="Thomas Stensitzki" userId="75cafe6b-2f2a-469b-85c4-eec3b9c972ba" providerId="ADAL" clId="{363DE228-8D93-47E2-A1D5-6CB8C68569A9}" dt="2021-04-11T12:16:22.638" v="1734" actId="700"/>
          <ac:spMkLst>
            <pc:docMk/>
            <pc:sldMk cId="2894310663" sldId="443"/>
            <ac:spMk id="2" creationId="{50183ADD-E6D0-4570-B5FB-F95BA9130DEC}"/>
          </ac:spMkLst>
        </pc:spChg>
        <pc:spChg chg="add mod ord">
          <ac:chgData name="Thomas Stensitzki" userId="75cafe6b-2f2a-469b-85c4-eec3b9c972ba" providerId="ADAL" clId="{363DE228-8D93-47E2-A1D5-6CB8C68569A9}" dt="2021-04-11T12:17:43.883" v="1766" actId="20577"/>
          <ac:spMkLst>
            <pc:docMk/>
            <pc:sldMk cId="2894310663" sldId="443"/>
            <ac:spMk id="3" creationId="{BA26520B-182E-4663-8494-7C118FD95DC0}"/>
          </ac:spMkLst>
        </pc:spChg>
        <pc:spChg chg="add mod">
          <ac:chgData name="Thomas Stensitzki" userId="75cafe6b-2f2a-469b-85c4-eec3b9c972ba" providerId="ADAL" clId="{363DE228-8D93-47E2-A1D5-6CB8C68569A9}" dt="2021-04-11T12:18:18.284" v="1772" actId="1076"/>
          <ac:spMkLst>
            <pc:docMk/>
            <pc:sldMk cId="2894310663" sldId="443"/>
            <ac:spMk id="6" creationId="{092F3A9E-3C85-42E7-AAE2-570492847E53}"/>
          </ac:spMkLst>
        </pc:spChg>
        <pc:picChg chg="mod">
          <ac:chgData name="Thomas Stensitzki" userId="75cafe6b-2f2a-469b-85c4-eec3b9c972ba" providerId="ADAL" clId="{363DE228-8D93-47E2-A1D5-6CB8C68569A9}" dt="2021-04-13T16:30:27.207" v="3874" actId="1076"/>
          <ac:picMkLst>
            <pc:docMk/>
            <pc:sldMk cId="2894310663" sldId="443"/>
            <ac:picMk id="14338" creationId="{C8543E28-7205-4AC6-A54D-0064BA5D8A10}"/>
          </ac:picMkLst>
        </pc:picChg>
      </pc:sldChg>
      <pc:sldChg chg="addSp">
        <pc:chgData name="Thomas Stensitzki" userId="75cafe6b-2f2a-469b-85c4-eec3b9c972ba" providerId="ADAL" clId="{363DE228-8D93-47E2-A1D5-6CB8C68569A9}" dt="2021-04-11T12:16:02.719" v="1730"/>
        <pc:sldMkLst>
          <pc:docMk/>
          <pc:sldMk cId="3726450046" sldId="443"/>
        </pc:sldMkLst>
        <pc:picChg chg="add">
          <ac:chgData name="Thomas Stensitzki" userId="75cafe6b-2f2a-469b-85c4-eec3b9c972ba" providerId="ADAL" clId="{363DE228-8D93-47E2-A1D5-6CB8C68569A9}" dt="2021-04-11T12:16:02.719" v="1730"/>
          <ac:picMkLst>
            <pc:docMk/>
            <pc:sldMk cId="3726450046" sldId="443"/>
            <ac:picMk id="14338" creationId="{C8543E28-7205-4AC6-A54D-0064BA5D8A10}"/>
          </ac:picMkLst>
        </pc:picChg>
      </pc:sldChg>
      <pc:sldChg chg="addSp delSp modSp add mod chgLayout">
        <pc:chgData name="Thomas Stensitzki" userId="75cafe6b-2f2a-469b-85c4-eec3b9c972ba" providerId="ADAL" clId="{363DE228-8D93-47E2-A1D5-6CB8C68569A9}" dt="2021-04-13T16:29:49.374" v="3873" actId="113"/>
        <pc:sldMkLst>
          <pc:docMk/>
          <pc:sldMk cId="625199879" sldId="444"/>
        </pc:sldMkLst>
        <pc:spChg chg="mod ord">
          <ac:chgData name="Thomas Stensitzki" userId="75cafe6b-2f2a-469b-85c4-eec3b9c972ba" providerId="ADAL" clId="{363DE228-8D93-47E2-A1D5-6CB8C68569A9}" dt="2021-04-11T11:14:42.862" v="1477" actId="700"/>
          <ac:spMkLst>
            <pc:docMk/>
            <pc:sldMk cId="625199879" sldId="444"/>
            <ac:spMk id="2" creationId="{50183ADD-E6D0-4570-B5FB-F95BA9130DEC}"/>
          </ac:spMkLst>
        </pc:spChg>
        <pc:spChg chg="add del mod ord">
          <ac:chgData name="Thomas Stensitzki" userId="75cafe6b-2f2a-469b-85c4-eec3b9c972ba" providerId="ADAL" clId="{363DE228-8D93-47E2-A1D5-6CB8C68569A9}" dt="2021-04-11T11:15:02.313" v="1478" actId="3680"/>
          <ac:spMkLst>
            <pc:docMk/>
            <pc:sldMk cId="625199879" sldId="444"/>
            <ac:spMk id="3" creationId="{78D8FCD1-D8DB-4D60-859C-7265AD172D70}"/>
          </ac:spMkLst>
        </pc:spChg>
        <pc:graphicFrameChg chg="add mod ord modGraphic">
          <ac:chgData name="Thomas Stensitzki" userId="75cafe6b-2f2a-469b-85c4-eec3b9c972ba" providerId="ADAL" clId="{363DE228-8D93-47E2-A1D5-6CB8C68569A9}" dt="2021-04-13T16:29:49.374" v="3873" actId="113"/>
          <ac:graphicFrameMkLst>
            <pc:docMk/>
            <pc:sldMk cId="625199879" sldId="444"/>
            <ac:graphicFrameMk id="4" creationId="{0F22A601-A9C9-4363-ABFD-8ED7802B0289}"/>
          </ac:graphicFrameMkLst>
        </pc:graphicFrameChg>
        <pc:picChg chg="del">
          <ac:chgData name="Thomas Stensitzki" userId="75cafe6b-2f2a-469b-85c4-eec3b9c972ba" providerId="ADAL" clId="{363DE228-8D93-47E2-A1D5-6CB8C68569A9}" dt="2021-04-11T11:14:38.490" v="1476" actId="478"/>
          <ac:picMkLst>
            <pc:docMk/>
            <pc:sldMk cId="625199879" sldId="444"/>
            <ac:picMk id="13314" creationId="{84B9686C-48C0-45C9-AD07-90660856CC97}"/>
          </ac:picMkLst>
        </pc:picChg>
      </pc:sldChg>
      <pc:sldChg chg="modSp add del mod">
        <pc:chgData name="Thomas Stensitzki" userId="75cafe6b-2f2a-469b-85c4-eec3b9c972ba" providerId="ADAL" clId="{363DE228-8D93-47E2-A1D5-6CB8C68569A9}" dt="2021-04-11T12:37:35.160" v="2453" actId="1440"/>
        <pc:sldMkLst>
          <pc:docMk/>
          <pc:sldMk cId="1296016441" sldId="445"/>
        </pc:sldMkLst>
        <pc:spChg chg="mod">
          <ac:chgData name="Thomas Stensitzki" userId="75cafe6b-2f2a-469b-85c4-eec3b9c972ba" providerId="ADAL" clId="{363DE228-8D93-47E2-A1D5-6CB8C68569A9}" dt="2021-04-11T12:19:09.631" v="1797"/>
          <ac:spMkLst>
            <pc:docMk/>
            <pc:sldMk cId="1296016441" sldId="445"/>
            <ac:spMk id="2" creationId="{50183ADD-E6D0-4570-B5FB-F95BA9130DEC}"/>
          </ac:spMkLst>
        </pc:spChg>
        <pc:picChg chg="mod">
          <ac:chgData name="Thomas Stensitzki" userId="75cafe6b-2f2a-469b-85c4-eec3b9c972ba" providerId="ADAL" clId="{363DE228-8D93-47E2-A1D5-6CB8C68569A9}" dt="2021-04-11T12:37:35.160" v="2453" actId="1440"/>
          <ac:picMkLst>
            <pc:docMk/>
            <pc:sldMk cId="1296016441" sldId="445"/>
            <ac:picMk id="15362" creationId="{45A7CBBE-01F4-4EDA-9C23-0C2D154F86BA}"/>
          </ac:picMkLst>
        </pc:picChg>
      </pc:sldChg>
      <pc:sldChg chg="addSp">
        <pc:chgData name="Thomas Stensitzki" userId="75cafe6b-2f2a-469b-85c4-eec3b9c972ba" providerId="ADAL" clId="{363DE228-8D93-47E2-A1D5-6CB8C68569A9}" dt="2021-04-11T12:19:16.182" v="1798"/>
        <pc:sldMkLst>
          <pc:docMk/>
          <pc:sldMk cId="1359793213" sldId="445"/>
        </pc:sldMkLst>
        <pc:picChg chg="add">
          <ac:chgData name="Thomas Stensitzki" userId="75cafe6b-2f2a-469b-85c4-eec3b9c972ba" providerId="ADAL" clId="{363DE228-8D93-47E2-A1D5-6CB8C68569A9}" dt="2021-04-11T12:19:16.182" v="1798"/>
          <ac:picMkLst>
            <pc:docMk/>
            <pc:sldMk cId="1359793213" sldId="445"/>
            <ac:picMk id="15362" creationId="{45A7CBBE-01F4-4EDA-9C23-0C2D154F86BA}"/>
          </ac:picMkLst>
        </pc:picChg>
      </pc:sldChg>
      <pc:sldChg chg="addSp">
        <pc:chgData name="Thomas Stensitzki" userId="75cafe6b-2f2a-469b-85c4-eec3b9c972ba" providerId="ADAL" clId="{363DE228-8D93-47E2-A1D5-6CB8C68569A9}" dt="2021-04-11T12:20:38.424" v="1824"/>
        <pc:sldMkLst>
          <pc:docMk/>
          <pc:sldMk cId="2314800460" sldId="446"/>
        </pc:sldMkLst>
        <pc:picChg chg="add">
          <ac:chgData name="Thomas Stensitzki" userId="75cafe6b-2f2a-469b-85c4-eec3b9c972ba" providerId="ADAL" clId="{363DE228-8D93-47E2-A1D5-6CB8C68569A9}" dt="2021-04-11T12:20:38.424" v="1824"/>
          <ac:picMkLst>
            <pc:docMk/>
            <pc:sldMk cId="2314800460" sldId="446"/>
            <ac:picMk id="16386" creationId="{73AAB821-D611-4DB7-B190-1DEFD0271BC9}"/>
          </ac:picMkLst>
        </pc:picChg>
      </pc:sldChg>
      <pc:sldChg chg="modSp add del mod">
        <pc:chgData name="Thomas Stensitzki" userId="75cafe6b-2f2a-469b-85c4-eec3b9c972ba" providerId="ADAL" clId="{363DE228-8D93-47E2-A1D5-6CB8C68569A9}" dt="2021-04-11T12:37:30.682" v="2452" actId="1440"/>
        <pc:sldMkLst>
          <pc:docMk/>
          <pc:sldMk cId="2712150207" sldId="446"/>
        </pc:sldMkLst>
        <pc:spChg chg="mod">
          <ac:chgData name="Thomas Stensitzki" userId="75cafe6b-2f2a-469b-85c4-eec3b9c972ba" providerId="ADAL" clId="{363DE228-8D93-47E2-A1D5-6CB8C68569A9}" dt="2021-04-11T12:20:32.521" v="1823"/>
          <ac:spMkLst>
            <pc:docMk/>
            <pc:sldMk cId="2712150207" sldId="446"/>
            <ac:spMk id="2" creationId="{50183ADD-E6D0-4570-B5FB-F95BA9130DEC}"/>
          </ac:spMkLst>
        </pc:spChg>
        <pc:picChg chg="mod">
          <ac:chgData name="Thomas Stensitzki" userId="75cafe6b-2f2a-469b-85c4-eec3b9c972ba" providerId="ADAL" clId="{363DE228-8D93-47E2-A1D5-6CB8C68569A9}" dt="2021-04-11T12:37:30.682" v="2452" actId="1440"/>
          <ac:picMkLst>
            <pc:docMk/>
            <pc:sldMk cId="2712150207" sldId="446"/>
            <ac:picMk id="16386" creationId="{73AAB821-D611-4DB7-B190-1DEFD0271BC9}"/>
          </ac:picMkLst>
        </pc:picChg>
      </pc:sldChg>
      <pc:sldChg chg="addSp modSp add del mod chgLayout">
        <pc:chgData name="Thomas Stensitzki" userId="75cafe6b-2f2a-469b-85c4-eec3b9c972ba" providerId="ADAL" clId="{363DE228-8D93-47E2-A1D5-6CB8C68569A9}" dt="2021-04-11T12:37:27.555" v="2451" actId="1440"/>
        <pc:sldMkLst>
          <pc:docMk/>
          <pc:sldMk cId="3622258366" sldId="447"/>
        </pc:sldMkLst>
        <pc:spChg chg="mod ord">
          <ac:chgData name="Thomas Stensitzki" userId="75cafe6b-2f2a-469b-85c4-eec3b9c972ba" providerId="ADAL" clId="{363DE228-8D93-47E2-A1D5-6CB8C68569A9}" dt="2021-04-11T12:24:01.159" v="1879" actId="700"/>
          <ac:spMkLst>
            <pc:docMk/>
            <pc:sldMk cId="3622258366" sldId="447"/>
            <ac:spMk id="2" creationId="{50183ADD-E6D0-4570-B5FB-F95BA9130DEC}"/>
          </ac:spMkLst>
        </pc:spChg>
        <pc:spChg chg="add mod ord">
          <ac:chgData name="Thomas Stensitzki" userId="75cafe6b-2f2a-469b-85c4-eec3b9c972ba" providerId="ADAL" clId="{363DE228-8D93-47E2-A1D5-6CB8C68569A9}" dt="2021-04-11T12:26:11.509" v="2070" actId="20577"/>
          <ac:spMkLst>
            <pc:docMk/>
            <pc:sldMk cId="3622258366" sldId="447"/>
            <ac:spMk id="3" creationId="{753A6C28-5235-4785-817A-3E51163696AE}"/>
          </ac:spMkLst>
        </pc:spChg>
        <pc:picChg chg="mod">
          <ac:chgData name="Thomas Stensitzki" userId="75cafe6b-2f2a-469b-85c4-eec3b9c972ba" providerId="ADAL" clId="{363DE228-8D93-47E2-A1D5-6CB8C68569A9}" dt="2021-04-11T12:37:27.555" v="2451" actId="1440"/>
          <ac:picMkLst>
            <pc:docMk/>
            <pc:sldMk cId="3622258366" sldId="447"/>
            <ac:picMk id="17410" creationId="{01F8CDA8-6946-4ACB-8DF9-C38B518CA35E}"/>
          </ac:picMkLst>
        </pc:picChg>
      </pc:sldChg>
      <pc:sldChg chg="addSp">
        <pc:chgData name="Thomas Stensitzki" userId="75cafe6b-2f2a-469b-85c4-eec3b9c972ba" providerId="ADAL" clId="{363DE228-8D93-47E2-A1D5-6CB8C68569A9}" dt="2021-04-11T12:23:52.069" v="1875"/>
        <pc:sldMkLst>
          <pc:docMk/>
          <pc:sldMk cId="3804870860" sldId="447"/>
        </pc:sldMkLst>
        <pc:picChg chg="add">
          <ac:chgData name="Thomas Stensitzki" userId="75cafe6b-2f2a-469b-85c4-eec3b9c972ba" providerId="ADAL" clId="{363DE228-8D93-47E2-A1D5-6CB8C68569A9}" dt="2021-04-11T12:23:52.069" v="1875"/>
          <ac:picMkLst>
            <pc:docMk/>
            <pc:sldMk cId="3804870860" sldId="447"/>
            <ac:picMk id="17410" creationId="{01F8CDA8-6946-4ACB-8DF9-C38B518CA35E}"/>
          </ac:picMkLst>
        </pc:picChg>
      </pc:sldChg>
      <pc:sldChg chg="modSp add mod ord modNotesTx">
        <pc:chgData name="Thomas Stensitzki" userId="75cafe6b-2f2a-469b-85c4-eec3b9c972ba" providerId="ADAL" clId="{363DE228-8D93-47E2-A1D5-6CB8C68569A9}" dt="2021-04-13T16:05:31.779" v="3208" actId="20577"/>
        <pc:sldMkLst>
          <pc:docMk/>
          <pc:sldMk cId="1736350639" sldId="448"/>
        </pc:sldMkLst>
        <pc:spChg chg="mod">
          <ac:chgData name="Thomas Stensitzki" userId="75cafe6b-2f2a-469b-85c4-eec3b9c972ba" providerId="ADAL" clId="{363DE228-8D93-47E2-A1D5-6CB8C68569A9}" dt="2021-04-13T16:05:31.779" v="3208" actId="20577"/>
          <ac:spMkLst>
            <pc:docMk/>
            <pc:sldMk cId="1736350639" sldId="448"/>
            <ac:spMk id="5" creationId="{C24DACB5-1BEC-4C86-9652-BAFD8DE56FEF}"/>
          </ac:spMkLst>
        </pc:spChg>
      </pc:sldChg>
      <pc:sldChg chg="addSp">
        <pc:chgData name="Thomas Stensitzki" userId="75cafe6b-2f2a-469b-85c4-eec3b9c972ba" providerId="ADAL" clId="{363DE228-8D93-47E2-A1D5-6CB8C68569A9}" dt="2021-04-11T12:27:26.506" v="2097"/>
        <pc:sldMkLst>
          <pc:docMk/>
          <pc:sldMk cId="732407738" sldId="449"/>
        </pc:sldMkLst>
        <pc:picChg chg="add">
          <ac:chgData name="Thomas Stensitzki" userId="75cafe6b-2f2a-469b-85c4-eec3b9c972ba" providerId="ADAL" clId="{363DE228-8D93-47E2-A1D5-6CB8C68569A9}" dt="2021-04-11T12:27:26.506" v="2097"/>
          <ac:picMkLst>
            <pc:docMk/>
            <pc:sldMk cId="732407738" sldId="449"/>
            <ac:picMk id="19458" creationId="{AD4FC084-E460-4FDE-B24B-B8078181CB5A}"/>
          </ac:picMkLst>
        </pc:picChg>
      </pc:sldChg>
      <pc:sldChg chg="modSp add del mod">
        <pc:chgData name="Thomas Stensitzki" userId="75cafe6b-2f2a-469b-85c4-eec3b9c972ba" providerId="ADAL" clId="{363DE228-8D93-47E2-A1D5-6CB8C68569A9}" dt="2021-04-11T12:37:25.067" v="2450" actId="1440"/>
        <pc:sldMkLst>
          <pc:docMk/>
          <pc:sldMk cId="2730803217" sldId="449"/>
        </pc:sldMkLst>
        <pc:spChg chg="mod">
          <ac:chgData name="Thomas Stensitzki" userId="75cafe6b-2f2a-469b-85c4-eec3b9c972ba" providerId="ADAL" clId="{363DE228-8D93-47E2-A1D5-6CB8C68569A9}" dt="2021-04-11T12:26:57.186" v="2092"/>
          <ac:spMkLst>
            <pc:docMk/>
            <pc:sldMk cId="2730803217" sldId="449"/>
            <ac:spMk id="2" creationId="{50183ADD-E6D0-4570-B5FB-F95BA9130DEC}"/>
          </ac:spMkLst>
        </pc:spChg>
        <pc:picChg chg="mod">
          <ac:chgData name="Thomas Stensitzki" userId="75cafe6b-2f2a-469b-85c4-eec3b9c972ba" providerId="ADAL" clId="{363DE228-8D93-47E2-A1D5-6CB8C68569A9}" dt="2021-04-11T12:37:25.067" v="2450" actId="1440"/>
          <ac:picMkLst>
            <pc:docMk/>
            <pc:sldMk cId="2730803217" sldId="449"/>
            <ac:picMk id="18434" creationId="{4404F047-5A3E-4015-9D2D-FFC316BCED24}"/>
          </ac:picMkLst>
        </pc:picChg>
        <pc:picChg chg="mod">
          <ac:chgData name="Thomas Stensitzki" userId="75cafe6b-2f2a-469b-85c4-eec3b9c972ba" providerId="ADAL" clId="{363DE228-8D93-47E2-A1D5-6CB8C68569A9}" dt="2021-04-11T12:37:24.295" v="2449" actId="1440"/>
          <ac:picMkLst>
            <pc:docMk/>
            <pc:sldMk cId="2730803217" sldId="449"/>
            <ac:picMk id="19458" creationId="{AD4FC084-E460-4FDE-B24B-B8078181CB5A}"/>
          </ac:picMkLst>
        </pc:picChg>
      </pc:sldChg>
      <pc:sldChg chg="addSp">
        <pc:chgData name="Thomas Stensitzki" userId="75cafe6b-2f2a-469b-85c4-eec3b9c972ba" providerId="ADAL" clId="{363DE228-8D93-47E2-A1D5-6CB8C68569A9}" dt="2021-04-11T12:27:08.898" v="2093"/>
        <pc:sldMkLst>
          <pc:docMk/>
          <pc:sldMk cId="2947644510" sldId="449"/>
        </pc:sldMkLst>
        <pc:picChg chg="add">
          <ac:chgData name="Thomas Stensitzki" userId="75cafe6b-2f2a-469b-85c4-eec3b9c972ba" providerId="ADAL" clId="{363DE228-8D93-47E2-A1D5-6CB8C68569A9}" dt="2021-04-11T12:27:08.898" v="2093"/>
          <ac:picMkLst>
            <pc:docMk/>
            <pc:sldMk cId="2947644510" sldId="449"/>
            <ac:picMk id="18434" creationId="{4404F047-5A3E-4015-9D2D-FFC316BCED24}"/>
          </ac:picMkLst>
        </pc:picChg>
      </pc:sldChg>
      <pc:sldChg chg="modSp add del mod modNotesTx">
        <pc:chgData name="Thomas Stensitzki" userId="75cafe6b-2f2a-469b-85c4-eec3b9c972ba" providerId="ADAL" clId="{363DE228-8D93-47E2-A1D5-6CB8C68569A9}" dt="2021-04-11T12:37:18.740" v="2447" actId="1440"/>
        <pc:sldMkLst>
          <pc:docMk/>
          <pc:sldMk cId="1458715789" sldId="450"/>
        </pc:sldMkLst>
        <pc:spChg chg="mod">
          <ac:chgData name="Thomas Stensitzki" userId="75cafe6b-2f2a-469b-85c4-eec3b9c972ba" providerId="ADAL" clId="{363DE228-8D93-47E2-A1D5-6CB8C68569A9}" dt="2021-04-11T12:29:15.667" v="2133"/>
          <ac:spMkLst>
            <pc:docMk/>
            <pc:sldMk cId="1458715789" sldId="450"/>
            <ac:spMk id="2" creationId="{50183ADD-E6D0-4570-B5FB-F95BA9130DEC}"/>
          </ac:spMkLst>
        </pc:spChg>
        <pc:picChg chg="mod">
          <ac:chgData name="Thomas Stensitzki" userId="75cafe6b-2f2a-469b-85c4-eec3b9c972ba" providerId="ADAL" clId="{363DE228-8D93-47E2-A1D5-6CB8C68569A9}" dt="2021-04-11T12:37:18.740" v="2447" actId="1440"/>
          <ac:picMkLst>
            <pc:docMk/>
            <pc:sldMk cId="1458715789" sldId="450"/>
            <ac:picMk id="21506" creationId="{BE06DE3E-E764-42FF-886E-5F8F7A206360}"/>
          </ac:picMkLst>
        </pc:picChg>
      </pc:sldChg>
      <pc:sldChg chg="addSp">
        <pc:chgData name="Thomas Stensitzki" userId="75cafe6b-2f2a-469b-85c4-eec3b9c972ba" providerId="ADAL" clId="{363DE228-8D93-47E2-A1D5-6CB8C68569A9}" dt="2021-04-11T12:29:33.419" v="2136"/>
        <pc:sldMkLst>
          <pc:docMk/>
          <pc:sldMk cId="3580567376" sldId="450"/>
        </pc:sldMkLst>
        <pc:picChg chg="add">
          <ac:chgData name="Thomas Stensitzki" userId="75cafe6b-2f2a-469b-85c4-eec3b9c972ba" providerId="ADAL" clId="{363DE228-8D93-47E2-A1D5-6CB8C68569A9}" dt="2021-04-11T12:29:33.419" v="2136"/>
          <ac:picMkLst>
            <pc:docMk/>
            <pc:sldMk cId="3580567376" sldId="450"/>
            <ac:picMk id="21506" creationId="{BE06DE3E-E764-42FF-886E-5F8F7A206360}"/>
          </ac:picMkLst>
        </pc:picChg>
      </pc:sldChg>
      <pc:sldChg chg="addSp">
        <pc:chgData name="Thomas Stensitzki" userId="75cafe6b-2f2a-469b-85c4-eec3b9c972ba" providerId="ADAL" clId="{363DE228-8D93-47E2-A1D5-6CB8C68569A9}" dt="2021-04-11T12:27:51.512" v="2103"/>
        <pc:sldMkLst>
          <pc:docMk/>
          <pc:sldMk cId="211374260" sldId="451"/>
        </pc:sldMkLst>
        <pc:picChg chg="add">
          <ac:chgData name="Thomas Stensitzki" userId="75cafe6b-2f2a-469b-85c4-eec3b9c972ba" providerId="ADAL" clId="{363DE228-8D93-47E2-A1D5-6CB8C68569A9}" dt="2021-04-11T12:27:51.512" v="2103"/>
          <ac:picMkLst>
            <pc:docMk/>
            <pc:sldMk cId="211374260" sldId="451"/>
            <ac:picMk id="20482" creationId="{F1BF2DED-0738-4DEB-B581-70C36CD1EDC7}"/>
          </ac:picMkLst>
        </pc:picChg>
      </pc:sldChg>
      <pc:sldChg chg="delSp modSp add del">
        <pc:chgData name="Thomas Stensitzki" userId="75cafe6b-2f2a-469b-85c4-eec3b9c972ba" providerId="ADAL" clId="{363DE228-8D93-47E2-A1D5-6CB8C68569A9}" dt="2021-04-11T12:37:20.585" v="2448" actId="1440"/>
        <pc:sldMkLst>
          <pc:docMk/>
          <pc:sldMk cId="3121195372" sldId="451"/>
        </pc:sldMkLst>
        <pc:picChg chg="del">
          <ac:chgData name="Thomas Stensitzki" userId="75cafe6b-2f2a-469b-85c4-eec3b9c972ba" providerId="ADAL" clId="{363DE228-8D93-47E2-A1D5-6CB8C68569A9}" dt="2021-04-11T12:27:47.758" v="2102" actId="478"/>
          <ac:picMkLst>
            <pc:docMk/>
            <pc:sldMk cId="3121195372" sldId="451"/>
            <ac:picMk id="19458" creationId="{AD4FC084-E460-4FDE-B24B-B8078181CB5A}"/>
          </ac:picMkLst>
        </pc:picChg>
        <pc:picChg chg="mod">
          <ac:chgData name="Thomas Stensitzki" userId="75cafe6b-2f2a-469b-85c4-eec3b9c972ba" providerId="ADAL" clId="{363DE228-8D93-47E2-A1D5-6CB8C68569A9}" dt="2021-04-11T12:37:20.585" v="2448" actId="1440"/>
          <ac:picMkLst>
            <pc:docMk/>
            <pc:sldMk cId="3121195372" sldId="451"/>
            <ac:picMk id="20482" creationId="{F1BF2DED-0738-4DEB-B581-70C36CD1EDC7}"/>
          </ac:picMkLst>
        </pc:picChg>
      </pc:sldChg>
      <pc:sldChg chg="addSp modSp add del mod chgLayout">
        <pc:chgData name="Thomas Stensitzki" userId="75cafe6b-2f2a-469b-85c4-eec3b9c972ba" providerId="ADAL" clId="{363DE228-8D93-47E2-A1D5-6CB8C68569A9}" dt="2021-04-11T12:37:16.586" v="2446" actId="1440"/>
        <pc:sldMkLst>
          <pc:docMk/>
          <pc:sldMk cId="2280653341" sldId="452"/>
        </pc:sldMkLst>
        <pc:spChg chg="mod ord">
          <ac:chgData name="Thomas Stensitzki" userId="75cafe6b-2f2a-469b-85c4-eec3b9c972ba" providerId="ADAL" clId="{363DE228-8D93-47E2-A1D5-6CB8C68569A9}" dt="2021-04-11T12:33:53.835" v="2219" actId="700"/>
          <ac:spMkLst>
            <pc:docMk/>
            <pc:sldMk cId="2280653341" sldId="452"/>
            <ac:spMk id="2" creationId="{50183ADD-E6D0-4570-B5FB-F95BA9130DEC}"/>
          </ac:spMkLst>
        </pc:spChg>
        <pc:spChg chg="add mod ord">
          <ac:chgData name="Thomas Stensitzki" userId="75cafe6b-2f2a-469b-85c4-eec3b9c972ba" providerId="ADAL" clId="{363DE228-8D93-47E2-A1D5-6CB8C68569A9}" dt="2021-04-11T12:35:29.204" v="2412" actId="20577"/>
          <ac:spMkLst>
            <pc:docMk/>
            <pc:sldMk cId="2280653341" sldId="452"/>
            <ac:spMk id="3" creationId="{DF8B6183-66A7-405D-A178-0A011BC0CCDA}"/>
          </ac:spMkLst>
        </pc:spChg>
        <pc:picChg chg="mod">
          <ac:chgData name="Thomas Stensitzki" userId="75cafe6b-2f2a-469b-85c4-eec3b9c972ba" providerId="ADAL" clId="{363DE228-8D93-47E2-A1D5-6CB8C68569A9}" dt="2021-04-11T12:37:16.586" v="2446" actId="1440"/>
          <ac:picMkLst>
            <pc:docMk/>
            <pc:sldMk cId="2280653341" sldId="452"/>
            <ac:picMk id="22530" creationId="{BC769D3B-0C62-48F9-B2D4-935C29420114}"/>
          </ac:picMkLst>
        </pc:picChg>
      </pc:sldChg>
      <pc:sldChg chg="addSp">
        <pc:chgData name="Thomas Stensitzki" userId="75cafe6b-2f2a-469b-85c4-eec3b9c972ba" providerId="ADAL" clId="{363DE228-8D93-47E2-A1D5-6CB8C68569A9}" dt="2021-04-11T12:33:19.481" v="2213"/>
        <pc:sldMkLst>
          <pc:docMk/>
          <pc:sldMk cId="3958338536" sldId="452"/>
        </pc:sldMkLst>
        <pc:picChg chg="add">
          <ac:chgData name="Thomas Stensitzki" userId="75cafe6b-2f2a-469b-85c4-eec3b9c972ba" providerId="ADAL" clId="{363DE228-8D93-47E2-A1D5-6CB8C68569A9}" dt="2021-04-11T12:33:19.481" v="2213"/>
          <ac:picMkLst>
            <pc:docMk/>
            <pc:sldMk cId="3958338536" sldId="452"/>
            <ac:picMk id="22530" creationId="{BC769D3B-0C62-48F9-B2D4-935C29420114}"/>
          </ac:picMkLst>
        </pc:picChg>
      </pc:sldChg>
      <pc:sldChg chg="addSp">
        <pc:chgData name="Thomas Stensitzki" userId="75cafe6b-2f2a-469b-85c4-eec3b9c972ba" providerId="ADAL" clId="{363DE228-8D93-47E2-A1D5-6CB8C68569A9}" dt="2021-04-11T12:36:58.282" v="2439"/>
        <pc:sldMkLst>
          <pc:docMk/>
          <pc:sldMk cId="716402514" sldId="453"/>
        </pc:sldMkLst>
        <pc:picChg chg="add">
          <ac:chgData name="Thomas Stensitzki" userId="75cafe6b-2f2a-469b-85c4-eec3b9c972ba" providerId="ADAL" clId="{363DE228-8D93-47E2-A1D5-6CB8C68569A9}" dt="2021-04-11T12:36:58.282" v="2439"/>
          <ac:picMkLst>
            <pc:docMk/>
            <pc:sldMk cId="716402514" sldId="453"/>
            <ac:picMk id="25602" creationId="{2E5A62CE-B198-418D-AFB2-F840A45B318C}"/>
          </ac:picMkLst>
        </pc:picChg>
      </pc:sldChg>
      <pc:sldChg chg="modSp add del mod modNotesTx">
        <pc:chgData name="Thomas Stensitzki" userId="75cafe6b-2f2a-469b-85c4-eec3b9c972ba" providerId="ADAL" clId="{363DE228-8D93-47E2-A1D5-6CB8C68569A9}" dt="2021-04-11T12:37:13.694" v="2445" actId="1440"/>
        <pc:sldMkLst>
          <pc:docMk/>
          <pc:sldMk cId="3153011246" sldId="453"/>
        </pc:sldMkLst>
        <pc:spChg chg="mod">
          <ac:chgData name="Thomas Stensitzki" userId="75cafe6b-2f2a-469b-85c4-eec3b9c972ba" providerId="ADAL" clId="{363DE228-8D93-47E2-A1D5-6CB8C68569A9}" dt="2021-04-11T12:36:15.457" v="2429"/>
          <ac:spMkLst>
            <pc:docMk/>
            <pc:sldMk cId="3153011246" sldId="453"/>
            <ac:spMk id="2" creationId="{50183ADD-E6D0-4570-B5FB-F95BA9130DEC}"/>
          </ac:spMkLst>
        </pc:spChg>
        <pc:picChg chg="mod">
          <ac:chgData name="Thomas Stensitzki" userId="75cafe6b-2f2a-469b-85c4-eec3b9c972ba" providerId="ADAL" clId="{363DE228-8D93-47E2-A1D5-6CB8C68569A9}" dt="2021-04-11T12:37:11.413" v="2443" actId="1440"/>
          <ac:picMkLst>
            <pc:docMk/>
            <pc:sldMk cId="3153011246" sldId="453"/>
            <ac:picMk id="23554" creationId="{5AE28E0E-192A-4861-A7DD-64B0A5A21BDD}"/>
          </ac:picMkLst>
        </pc:picChg>
        <pc:picChg chg="mod">
          <ac:chgData name="Thomas Stensitzki" userId="75cafe6b-2f2a-469b-85c4-eec3b9c972ba" providerId="ADAL" clId="{363DE228-8D93-47E2-A1D5-6CB8C68569A9}" dt="2021-04-11T12:37:12.670" v="2444" actId="1440"/>
          <ac:picMkLst>
            <pc:docMk/>
            <pc:sldMk cId="3153011246" sldId="453"/>
            <ac:picMk id="24578" creationId="{F39A3F11-39F7-48CB-8419-60EC0F3B9A72}"/>
          </ac:picMkLst>
        </pc:picChg>
        <pc:picChg chg="mod">
          <ac:chgData name="Thomas Stensitzki" userId="75cafe6b-2f2a-469b-85c4-eec3b9c972ba" providerId="ADAL" clId="{363DE228-8D93-47E2-A1D5-6CB8C68569A9}" dt="2021-04-11T12:37:13.694" v="2445" actId="1440"/>
          <ac:picMkLst>
            <pc:docMk/>
            <pc:sldMk cId="3153011246" sldId="453"/>
            <ac:picMk id="25602" creationId="{2E5A62CE-B198-418D-AFB2-F840A45B318C}"/>
          </ac:picMkLst>
        </pc:picChg>
      </pc:sldChg>
      <pc:sldChg chg="addSp">
        <pc:chgData name="Thomas Stensitzki" userId="75cafe6b-2f2a-469b-85c4-eec3b9c972ba" providerId="ADAL" clId="{363DE228-8D93-47E2-A1D5-6CB8C68569A9}" dt="2021-04-11T12:36:34.782" v="2432"/>
        <pc:sldMkLst>
          <pc:docMk/>
          <pc:sldMk cId="4090232713" sldId="453"/>
        </pc:sldMkLst>
        <pc:picChg chg="add">
          <ac:chgData name="Thomas Stensitzki" userId="75cafe6b-2f2a-469b-85c4-eec3b9c972ba" providerId="ADAL" clId="{363DE228-8D93-47E2-A1D5-6CB8C68569A9}" dt="2021-04-11T12:36:34.782" v="2432"/>
          <ac:picMkLst>
            <pc:docMk/>
            <pc:sldMk cId="4090232713" sldId="453"/>
            <ac:picMk id="23554" creationId="{5AE28E0E-192A-4861-A7DD-64B0A5A21BDD}"/>
          </ac:picMkLst>
        </pc:picChg>
      </pc:sldChg>
      <pc:sldChg chg="addSp">
        <pc:chgData name="Thomas Stensitzki" userId="75cafe6b-2f2a-469b-85c4-eec3b9c972ba" providerId="ADAL" clId="{363DE228-8D93-47E2-A1D5-6CB8C68569A9}" dt="2021-04-11T12:36:49.244" v="2436"/>
        <pc:sldMkLst>
          <pc:docMk/>
          <pc:sldMk cId="4203898236" sldId="453"/>
        </pc:sldMkLst>
        <pc:picChg chg="add">
          <ac:chgData name="Thomas Stensitzki" userId="75cafe6b-2f2a-469b-85c4-eec3b9c972ba" providerId="ADAL" clId="{363DE228-8D93-47E2-A1D5-6CB8C68569A9}" dt="2021-04-11T12:36:49.244" v="2436"/>
          <ac:picMkLst>
            <pc:docMk/>
            <pc:sldMk cId="4203898236" sldId="453"/>
            <ac:picMk id="24578" creationId="{F39A3F11-39F7-48CB-8419-60EC0F3B9A72}"/>
          </ac:picMkLst>
        </pc:picChg>
      </pc:sldChg>
      <pc:sldChg chg="addSp">
        <pc:chgData name="Thomas Stensitzki" userId="75cafe6b-2f2a-469b-85c4-eec3b9c972ba" providerId="ADAL" clId="{363DE228-8D93-47E2-A1D5-6CB8C68569A9}" dt="2021-04-11T12:47:36.320" v="2572"/>
        <pc:sldMkLst>
          <pc:docMk/>
          <pc:sldMk cId="1895029209" sldId="454"/>
        </pc:sldMkLst>
        <pc:picChg chg="add">
          <ac:chgData name="Thomas Stensitzki" userId="75cafe6b-2f2a-469b-85c4-eec3b9c972ba" providerId="ADAL" clId="{363DE228-8D93-47E2-A1D5-6CB8C68569A9}" dt="2021-04-11T12:47:36.320" v="2572"/>
          <ac:picMkLst>
            <pc:docMk/>
            <pc:sldMk cId="1895029209" sldId="454"/>
            <ac:picMk id="30722" creationId="{8E0174E7-015E-4B6D-B746-4AF6B2457ED1}"/>
          </ac:picMkLst>
        </pc:picChg>
      </pc:sldChg>
      <pc:sldChg chg="modSp add del mod">
        <pc:chgData name="Thomas Stensitzki" userId="75cafe6b-2f2a-469b-85c4-eec3b9c972ba" providerId="ADAL" clId="{363DE228-8D93-47E2-A1D5-6CB8C68569A9}" dt="2021-04-11T12:48:45.181" v="2582" actId="1076"/>
        <pc:sldMkLst>
          <pc:docMk/>
          <pc:sldMk cId="2162326699" sldId="454"/>
        </pc:sldMkLst>
        <pc:spChg chg="mod">
          <ac:chgData name="Thomas Stensitzki" userId="75cafe6b-2f2a-469b-85c4-eec3b9c972ba" providerId="ADAL" clId="{363DE228-8D93-47E2-A1D5-6CB8C68569A9}" dt="2021-04-11T12:47:16.070" v="2566"/>
          <ac:spMkLst>
            <pc:docMk/>
            <pc:sldMk cId="2162326699" sldId="454"/>
            <ac:spMk id="2" creationId="{50183ADD-E6D0-4570-B5FB-F95BA9130DEC}"/>
          </ac:spMkLst>
        </pc:spChg>
        <pc:picChg chg="mod">
          <ac:chgData name="Thomas Stensitzki" userId="75cafe6b-2f2a-469b-85c4-eec3b9c972ba" providerId="ADAL" clId="{363DE228-8D93-47E2-A1D5-6CB8C68569A9}" dt="2021-04-11T12:47:55.833" v="2577" actId="1076"/>
          <ac:picMkLst>
            <pc:docMk/>
            <pc:sldMk cId="2162326699" sldId="454"/>
            <ac:picMk id="29698" creationId="{C3645A00-ECA2-4058-B0FB-020A2E7C29A6}"/>
          </ac:picMkLst>
        </pc:picChg>
        <pc:picChg chg="mod">
          <ac:chgData name="Thomas Stensitzki" userId="75cafe6b-2f2a-469b-85c4-eec3b9c972ba" providerId="ADAL" clId="{363DE228-8D93-47E2-A1D5-6CB8C68569A9}" dt="2021-04-11T12:47:44.659" v="2575" actId="1076"/>
          <ac:picMkLst>
            <pc:docMk/>
            <pc:sldMk cId="2162326699" sldId="454"/>
            <ac:picMk id="30722" creationId="{8E0174E7-015E-4B6D-B746-4AF6B2457ED1}"/>
          </ac:picMkLst>
        </pc:picChg>
        <pc:picChg chg="mod">
          <ac:chgData name="Thomas Stensitzki" userId="75cafe6b-2f2a-469b-85c4-eec3b9c972ba" providerId="ADAL" clId="{363DE228-8D93-47E2-A1D5-6CB8C68569A9}" dt="2021-04-11T12:48:45.181" v="2582" actId="1076"/>
          <ac:picMkLst>
            <pc:docMk/>
            <pc:sldMk cId="2162326699" sldId="454"/>
            <ac:picMk id="31746" creationId="{1DABC163-7246-4150-9A77-805CAE6DBC5D}"/>
          </ac:picMkLst>
        </pc:picChg>
      </pc:sldChg>
      <pc:sldChg chg="addSp">
        <pc:chgData name="Thomas Stensitzki" userId="75cafe6b-2f2a-469b-85c4-eec3b9c972ba" providerId="ADAL" clId="{363DE228-8D93-47E2-A1D5-6CB8C68569A9}" dt="2021-04-11T12:47:25.149" v="2567"/>
        <pc:sldMkLst>
          <pc:docMk/>
          <pc:sldMk cId="2548891359" sldId="454"/>
        </pc:sldMkLst>
        <pc:picChg chg="add">
          <ac:chgData name="Thomas Stensitzki" userId="75cafe6b-2f2a-469b-85c4-eec3b9c972ba" providerId="ADAL" clId="{363DE228-8D93-47E2-A1D5-6CB8C68569A9}" dt="2021-04-11T12:47:25.149" v="2567"/>
          <ac:picMkLst>
            <pc:docMk/>
            <pc:sldMk cId="2548891359" sldId="454"/>
            <ac:picMk id="29698" creationId="{C3645A00-ECA2-4058-B0FB-020A2E7C29A6}"/>
          </ac:picMkLst>
        </pc:picChg>
      </pc:sldChg>
      <pc:sldChg chg="addSp">
        <pc:chgData name="Thomas Stensitzki" userId="75cafe6b-2f2a-469b-85c4-eec3b9c972ba" providerId="ADAL" clId="{363DE228-8D93-47E2-A1D5-6CB8C68569A9}" dt="2021-04-11T12:48:21.492" v="2578"/>
        <pc:sldMkLst>
          <pc:docMk/>
          <pc:sldMk cId="3299701344" sldId="454"/>
        </pc:sldMkLst>
        <pc:picChg chg="add">
          <ac:chgData name="Thomas Stensitzki" userId="75cafe6b-2f2a-469b-85c4-eec3b9c972ba" providerId="ADAL" clId="{363DE228-8D93-47E2-A1D5-6CB8C68569A9}" dt="2021-04-11T12:48:21.492" v="2578"/>
          <ac:picMkLst>
            <pc:docMk/>
            <pc:sldMk cId="3299701344" sldId="454"/>
            <ac:picMk id="31746" creationId="{1DABC163-7246-4150-9A77-805CAE6DBC5D}"/>
          </ac:picMkLst>
        </pc:picChg>
      </pc:sldChg>
      <pc:sldChg chg="modSp add mod ord modNotesTx">
        <pc:chgData name="Thomas Stensitzki" userId="75cafe6b-2f2a-469b-85c4-eec3b9c972ba" providerId="ADAL" clId="{363DE228-8D93-47E2-A1D5-6CB8C68569A9}" dt="2021-04-13T16:15:34.270" v="3781" actId="6549"/>
        <pc:sldMkLst>
          <pc:docMk/>
          <pc:sldMk cId="348069652" sldId="455"/>
        </pc:sldMkLst>
        <pc:spChg chg="mod">
          <ac:chgData name="Thomas Stensitzki" userId="75cafe6b-2f2a-469b-85c4-eec3b9c972ba" providerId="ADAL" clId="{363DE228-8D93-47E2-A1D5-6CB8C68569A9}" dt="2021-04-13T16:14:39.969" v="3718" actId="20577"/>
          <ac:spMkLst>
            <pc:docMk/>
            <pc:sldMk cId="348069652" sldId="455"/>
            <ac:spMk id="5" creationId="{C24DACB5-1BEC-4C86-9652-BAFD8DE56FEF}"/>
          </ac:spMkLst>
        </pc:spChg>
      </pc:sldChg>
      <pc:sldChg chg="modSp add del mod">
        <pc:chgData name="Thomas Stensitzki" userId="75cafe6b-2f2a-469b-85c4-eec3b9c972ba" providerId="ADAL" clId="{363DE228-8D93-47E2-A1D5-6CB8C68569A9}" dt="2021-04-11T12:46:29.471" v="2549" actId="1076"/>
        <pc:sldMkLst>
          <pc:docMk/>
          <pc:sldMk cId="2139259870" sldId="456"/>
        </pc:sldMkLst>
        <pc:spChg chg="mod">
          <ac:chgData name="Thomas Stensitzki" userId="75cafe6b-2f2a-469b-85c4-eec3b9c972ba" providerId="ADAL" clId="{363DE228-8D93-47E2-A1D5-6CB8C68569A9}" dt="2021-04-11T12:46:19.027" v="2545"/>
          <ac:spMkLst>
            <pc:docMk/>
            <pc:sldMk cId="2139259870" sldId="456"/>
            <ac:spMk id="2" creationId="{11E5EEC8-6493-4BA0-8811-4A3F48FE62AF}"/>
          </ac:spMkLst>
        </pc:spChg>
        <pc:picChg chg="mod">
          <ac:chgData name="Thomas Stensitzki" userId="75cafe6b-2f2a-469b-85c4-eec3b9c972ba" providerId="ADAL" clId="{363DE228-8D93-47E2-A1D5-6CB8C68569A9}" dt="2021-04-11T12:46:29.471" v="2549" actId="1076"/>
          <ac:picMkLst>
            <pc:docMk/>
            <pc:sldMk cId="2139259870" sldId="456"/>
            <ac:picMk id="28674" creationId="{6E7C17D7-E3A0-483A-9862-4184DD9A9732}"/>
          </ac:picMkLst>
        </pc:picChg>
      </pc:sldChg>
      <pc:sldChg chg="addSp">
        <pc:chgData name="Thomas Stensitzki" userId="75cafe6b-2f2a-469b-85c4-eec3b9c972ba" providerId="ADAL" clId="{363DE228-8D93-47E2-A1D5-6CB8C68569A9}" dt="2021-04-11T12:46:23.976" v="2546"/>
        <pc:sldMkLst>
          <pc:docMk/>
          <pc:sldMk cId="3180100850" sldId="456"/>
        </pc:sldMkLst>
        <pc:picChg chg="add">
          <ac:chgData name="Thomas Stensitzki" userId="75cafe6b-2f2a-469b-85c4-eec3b9c972ba" providerId="ADAL" clId="{363DE228-8D93-47E2-A1D5-6CB8C68569A9}" dt="2021-04-11T12:46:23.976" v="2546"/>
          <ac:picMkLst>
            <pc:docMk/>
            <pc:sldMk cId="3180100850" sldId="456"/>
            <ac:picMk id="28674" creationId="{6E7C17D7-E3A0-483A-9862-4184DD9A9732}"/>
          </ac:picMkLst>
        </pc:picChg>
      </pc:sldChg>
      <pc:sldChg chg="add del">
        <pc:chgData name="Thomas Stensitzki" userId="75cafe6b-2f2a-469b-85c4-eec3b9c972ba" providerId="ADAL" clId="{363DE228-8D93-47E2-A1D5-6CB8C68569A9}" dt="2021-04-13T16:08:58.964" v="3469" actId="47"/>
        <pc:sldMkLst>
          <pc:docMk/>
          <pc:sldMk cId="2683604596" sldId="457"/>
        </pc:sldMkLst>
      </pc:sldChg>
      <pc:sldChg chg="addSp modSp add del mod chgLayout modNotesTx">
        <pc:chgData name="Thomas Stensitzki" userId="75cafe6b-2f2a-469b-85c4-eec3b9c972ba" providerId="ADAL" clId="{363DE228-8D93-47E2-A1D5-6CB8C68569A9}" dt="2021-04-11T12:55:48.328" v="2759"/>
        <pc:sldMkLst>
          <pc:docMk/>
          <pc:sldMk cId="1637553502" sldId="458"/>
        </pc:sldMkLst>
        <pc:spChg chg="mod ord">
          <ac:chgData name="Thomas Stensitzki" userId="75cafe6b-2f2a-469b-85c4-eec3b9c972ba" providerId="ADAL" clId="{363DE228-8D93-47E2-A1D5-6CB8C68569A9}" dt="2021-04-11T12:53:22.927" v="2655" actId="700"/>
          <ac:spMkLst>
            <pc:docMk/>
            <pc:sldMk cId="1637553502" sldId="458"/>
            <ac:spMk id="2" creationId="{50183ADD-E6D0-4570-B5FB-F95BA9130DEC}"/>
          </ac:spMkLst>
        </pc:spChg>
        <pc:spChg chg="add mod ord">
          <ac:chgData name="Thomas Stensitzki" userId="75cafe6b-2f2a-469b-85c4-eec3b9c972ba" providerId="ADAL" clId="{363DE228-8D93-47E2-A1D5-6CB8C68569A9}" dt="2021-04-11T12:55:33.347" v="2758" actId="27636"/>
          <ac:spMkLst>
            <pc:docMk/>
            <pc:sldMk cId="1637553502" sldId="458"/>
            <ac:spMk id="3" creationId="{70EF8CC2-F62B-46A7-BE9F-E9D86257BB56}"/>
          </ac:spMkLst>
        </pc:spChg>
        <pc:picChg chg="mod">
          <ac:chgData name="Thomas Stensitzki" userId="75cafe6b-2f2a-469b-85c4-eec3b9c972ba" providerId="ADAL" clId="{363DE228-8D93-47E2-A1D5-6CB8C68569A9}" dt="2021-04-11T12:53:17.299" v="2654" actId="1076"/>
          <ac:picMkLst>
            <pc:docMk/>
            <pc:sldMk cId="1637553502" sldId="458"/>
            <ac:picMk id="32770" creationId="{5BC0231E-536B-41F0-87EE-B6A8992D5DC6}"/>
          </ac:picMkLst>
        </pc:picChg>
        <pc:picChg chg="mod">
          <ac:chgData name="Thomas Stensitzki" userId="75cafe6b-2f2a-469b-85c4-eec3b9c972ba" providerId="ADAL" clId="{363DE228-8D93-47E2-A1D5-6CB8C68569A9}" dt="2021-04-11T12:53:15.049" v="2653" actId="1076"/>
          <ac:picMkLst>
            <pc:docMk/>
            <pc:sldMk cId="1637553502" sldId="458"/>
            <ac:picMk id="33794" creationId="{E218DB04-B23B-4A06-91C9-44B74FB67672}"/>
          </ac:picMkLst>
        </pc:picChg>
      </pc:sldChg>
      <pc:sldChg chg="addSp">
        <pc:chgData name="Thomas Stensitzki" userId="75cafe6b-2f2a-469b-85c4-eec3b9c972ba" providerId="ADAL" clId="{363DE228-8D93-47E2-A1D5-6CB8C68569A9}" dt="2021-04-11T12:52:58.962" v="2646"/>
        <pc:sldMkLst>
          <pc:docMk/>
          <pc:sldMk cId="1979311415" sldId="458"/>
        </pc:sldMkLst>
        <pc:picChg chg="add">
          <ac:chgData name="Thomas Stensitzki" userId="75cafe6b-2f2a-469b-85c4-eec3b9c972ba" providerId="ADAL" clId="{363DE228-8D93-47E2-A1D5-6CB8C68569A9}" dt="2021-04-11T12:52:58.962" v="2646"/>
          <ac:picMkLst>
            <pc:docMk/>
            <pc:sldMk cId="1979311415" sldId="458"/>
            <ac:picMk id="32770" creationId="{5BC0231E-536B-41F0-87EE-B6A8992D5DC6}"/>
          </ac:picMkLst>
        </pc:picChg>
      </pc:sldChg>
      <pc:sldChg chg="addSp">
        <pc:chgData name="Thomas Stensitzki" userId="75cafe6b-2f2a-469b-85c4-eec3b9c972ba" providerId="ADAL" clId="{363DE228-8D93-47E2-A1D5-6CB8C68569A9}" dt="2021-04-11T12:53:09.077" v="2650"/>
        <pc:sldMkLst>
          <pc:docMk/>
          <pc:sldMk cId="3755221492" sldId="458"/>
        </pc:sldMkLst>
        <pc:picChg chg="add">
          <ac:chgData name="Thomas Stensitzki" userId="75cafe6b-2f2a-469b-85c4-eec3b9c972ba" providerId="ADAL" clId="{363DE228-8D93-47E2-A1D5-6CB8C68569A9}" dt="2021-04-11T12:53:09.077" v="2650"/>
          <ac:picMkLst>
            <pc:docMk/>
            <pc:sldMk cId="3755221492" sldId="458"/>
            <ac:picMk id="33794" creationId="{E218DB04-B23B-4A06-91C9-44B74FB67672}"/>
          </ac:picMkLst>
        </pc:picChg>
      </pc:sldChg>
      <pc:sldChg chg="modSp add mod ord modNotesTx">
        <pc:chgData name="Thomas Stensitzki" userId="75cafe6b-2f2a-469b-85c4-eec3b9c972ba" providerId="ADAL" clId="{363DE228-8D93-47E2-A1D5-6CB8C68569A9}" dt="2021-04-13T15:57:37.180" v="2859"/>
        <pc:sldMkLst>
          <pc:docMk/>
          <pc:sldMk cId="788649752" sldId="459"/>
        </pc:sldMkLst>
        <pc:spChg chg="mod">
          <ac:chgData name="Thomas Stensitzki" userId="75cafe6b-2f2a-469b-85c4-eec3b9c972ba" providerId="ADAL" clId="{363DE228-8D93-47E2-A1D5-6CB8C68569A9}" dt="2021-04-11T13:01:05.786" v="2843" actId="20577"/>
          <ac:spMkLst>
            <pc:docMk/>
            <pc:sldMk cId="788649752" sldId="459"/>
            <ac:spMk id="5" creationId="{C24DACB5-1BEC-4C86-9652-BAFD8DE56FEF}"/>
          </ac:spMkLst>
        </pc:spChg>
      </pc:sldChg>
      <pc:sldChg chg="addSp">
        <pc:chgData name="Thomas Stensitzki" userId="75cafe6b-2f2a-469b-85c4-eec3b9c972ba" providerId="ADAL" clId="{363DE228-8D93-47E2-A1D5-6CB8C68569A9}" dt="2021-04-11T13:01:24.618" v="2845"/>
        <pc:sldMkLst>
          <pc:docMk/>
          <pc:sldMk cId="20385009" sldId="460"/>
        </pc:sldMkLst>
        <pc:picChg chg="add">
          <ac:chgData name="Thomas Stensitzki" userId="75cafe6b-2f2a-469b-85c4-eec3b9c972ba" providerId="ADAL" clId="{363DE228-8D93-47E2-A1D5-6CB8C68569A9}" dt="2021-04-11T13:01:24.618" v="2845"/>
          <ac:picMkLst>
            <pc:docMk/>
            <pc:sldMk cId="20385009" sldId="460"/>
            <ac:picMk id="34818" creationId="{D9689A9F-A110-4FD0-9746-0DED56526C66}"/>
          </ac:picMkLst>
        </pc:picChg>
      </pc:sldChg>
      <pc:sldChg chg="modSp add del mod">
        <pc:chgData name="Thomas Stensitzki" userId="75cafe6b-2f2a-469b-85c4-eec3b9c972ba" providerId="ADAL" clId="{363DE228-8D93-47E2-A1D5-6CB8C68569A9}" dt="2021-04-11T13:01:29.492" v="2848" actId="1076"/>
        <pc:sldMkLst>
          <pc:docMk/>
          <pc:sldMk cId="1264814093" sldId="460"/>
        </pc:sldMkLst>
        <pc:spChg chg="mod">
          <ac:chgData name="Thomas Stensitzki" userId="75cafe6b-2f2a-469b-85c4-eec3b9c972ba" providerId="ADAL" clId="{363DE228-8D93-47E2-A1D5-6CB8C68569A9}" dt="2021-04-11T13:01:15.209" v="2844"/>
          <ac:spMkLst>
            <pc:docMk/>
            <pc:sldMk cId="1264814093" sldId="460"/>
            <ac:spMk id="2" creationId="{50183ADD-E6D0-4570-B5FB-F95BA9130DEC}"/>
          </ac:spMkLst>
        </pc:spChg>
        <pc:picChg chg="mod">
          <ac:chgData name="Thomas Stensitzki" userId="75cafe6b-2f2a-469b-85c4-eec3b9c972ba" providerId="ADAL" clId="{363DE228-8D93-47E2-A1D5-6CB8C68569A9}" dt="2021-04-11T13:01:29.492" v="2848" actId="1076"/>
          <ac:picMkLst>
            <pc:docMk/>
            <pc:sldMk cId="1264814093" sldId="460"/>
            <ac:picMk id="34818" creationId="{D9689A9F-A110-4FD0-9746-0DED56526C66}"/>
          </ac:picMkLst>
        </pc:picChg>
      </pc:sldChg>
      <pc:sldChg chg="modSp add mod">
        <pc:chgData name="Thomas Stensitzki" userId="75cafe6b-2f2a-469b-85c4-eec3b9c972ba" providerId="ADAL" clId="{363DE228-8D93-47E2-A1D5-6CB8C68569A9}" dt="2021-04-13T15:58:53.009" v="2897" actId="1036"/>
        <pc:sldMkLst>
          <pc:docMk/>
          <pc:sldMk cId="3877520136" sldId="461"/>
        </pc:sldMkLst>
        <pc:spChg chg="mod">
          <ac:chgData name="Thomas Stensitzki" userId="75cafe6b-2f2a-469b-85c4-eec3b9c972ba" providerId="ADAL" clId="{363DE228-8D93-47E2-A1D5-6CB8C68569A9}" dt="2021-04-13T15:58:53.009" v="2897" actId="1036"/>
          <ac:spMkLst>
            <pc:docMk/>
            <pc:sldMk cId="3877520136" sldId="461"/>
            <ac:spMk id="2" creationId="{909DC09D-B9A6-4493-9A72-1CA7ECB1F5CA}"/>
          </ac:spMkLst>
        </pc:spChg>
      </pc:sldChg>
      <pc:sldChg chg="modSp add mod ord">
        <pc:chgData name="Thomas Stensitzki" userId="75cafe6b-2f2a-469b-85c4-eec3b9c972ba" providerId="ADAL" clId="{363DE228-8D93-47E2-A1D5-6CB8C68569A9}" dt="2021-04-13T15:59:23.476" v="2944" actId="14100"/>
        <pc:sldMkLst>
          <pc:docMk/>
          <pc:sldMk cId="2362987111" sldId="462"/>
        </pc:sldMkLst>
        <pc:spChg chg="mod">
          <ac:chgData name="Thomas Stensitzki" userId="75cafe6b-2f2a-469b-85c4-eec3b9c972ba" providerId="ADAL" clId="{363DE228-8D93-47E2-A1D5-6CB8C68569A9}" dt="2021-04-13T15:59:23.476" v="2944" actId="14100"/>
          <ac:spMkLst>
            <pc:docMk/>
            <pc:sldMk cId="2362987111" sldId="462"/>
            <ac:spMk id="2" creationId="{909DC09D-B9A6-4493-9A72-1CA7ECB1F5CA}"/>
          </ac:spMkLst>
        </pc:spChg>
      </pc:sldChg>
      <pc:sldChg chg="modSp add mod ord">
        <pc:chgData name="Thomas Stensitzki" userId="75cafe6b-2f2a-469b-85c4-eec3b9c972ba" providerId="ADAL" clId="{363DE228-8D93-47E2-A1D5-6CB8C68569A9}" dt="2021-04-13T16:00:02.977" v="2977" actId="1036"/>
        <pc:sldMkLst>
          <pc:docMk/>
          <pc:sldMk cId="22916493" sldId="463"/>
        </pc:sldMkLst>
        <pc:spChg chg="mod">
          <ac:chgData name="Thomas Stensitzki" userId="75cafe6b-2f2a-469b-85c4-eec3b9c972ba" providerId="ADAL" clId="{363DE228-8D93-47E2-A1D5-6CB8C68569A9}" dt="2021-04-13T16:00:02.977" v="2977" actId="1036"/>
          <ac:spMkLst>
            <pc:docMk/>
            <pc:sldMk cId="22916493" sldId="463"/>
            <ac:spMk id="2" creationId="{909DC09D-B9A6-4493-9A72-1CA7ECB1F5CA}"/>
          </ac:spMkLst>
        </pc:spChg>
      </pc:sldChg>
      <pc:sldChg chg="modSp add mod ord">
        <pc:chgData name="Thomas Stensitzki" userId="75cafe6b-2f2a-469b-85c4-eec3b9c972ba" providerId="ADAL" clId="{363DE228-8D93-47E2-A1D5-6CB8C68569A9}" dt="2021-04-13T16:00:25.706" v="3011" actId="14100"/>
        <pc:sldMkLst>
          <pc:docMk/>
          <pc:sldMk cId="4141395919" sldId="464"/>
        </pc:sldMkLst>
        <pc:spChg chg="mod">
          <ac:chgData name="Thomas Stensitzki" userId="75cafe6b-2f2a-469b-85c4-eec3b9c972ba" providerId="ADAL" clId="{363DE228-8D93-47E2-A1D5-6CB8C68569A9}" dt="2021-04-13T16:00:25.706" v="3011" actId="14100"/>
          <ac:spMkLst>
            <pc:docMk/>
            <pc:sldMk cId="4141395919" sldId="464"/>
            <ac:spMk id="2" creationId="{909DC09D-B9A6-4493-9A72-1CA7ECB1F5CA}"/>
          </ac:spMkLst>
        </pc:spChg>
      </pc:sldChg>
      <pc:sldChg chg="modSp add mod ord">
        <pc:chgData name="Thomas Stensitzki" userId="75cafe6b-2f2a-469b-85c4-eec3b9c972ba" providerId="ADAL" clId="{363DE228-8D93-47E2-A1D5-6CB8C68569A9}" dt="2021-04-13T16:02:15.998" v="3044" actId="1035"/>
        <pc:sldMkLst>
          <pc:docMk/>
          <pc:sldMk cId="2927016727" sldId="465"/>
        </pc:sldMkLst>
        <pc:spChg chg="mod">
          <ac:chgData name="Thomas Stensitzki" userId="75cafe6b-2f2a-469b-85c4-eec3b9c972ba" providerId="ADAL" clId="{363DE228-8D93-47E2-A1D5-6CB8C68569A9}" dt="2021-04-13T16:02:15.998" v="3044" actId="1035"/>
          <ac:spMkLst>
            <pc:docMk/>
            <pc:sldMk cId="2927016727" sldId="465"/>
            <ac:spMk id="2" creationId="{909DC09D-B9A6-4493-9A72-1CA7ECB1F5CA}"/>
          </ac:spMkLst>
        </pc:spChg>
      </pc:sldChg>
      <pc:sldChg chg="modSp add mod ord">
        <pc:chgData name="Thomas Stensitzki" userId="75cafe6b-2f2a-469b-85c4-eec3b9c972ba" providerId="ADAL" clId="{363DE228-8D93-47E2-A1D5-6CB8C68569A9}" dt="2021-04-13T16:04:38.921" v="3176" actId="20577"/>
        <pc:sldMkLst>
          <pc:docMk/>
          <pc:sldMk cId="749460758" sldId="466"/>
        </pc:sldMkLst>
        <pc:spChg chg="mod">
          <ac:chgData name="Thomas Stensitzki" userId="75cafe6b-2f2a-469b-85c4-eec3b9c972ba" providerId="ADAL" clId="{363DE228-8D93-47E2-A1D5-6CB8C68569A9}" dt="2021-04-13T16:02:37.113" v="3073" actId="14100"/>
          <ac:spMkLst>
            <pc:docMk/>
            <pc:sldMk cId="749460758" sldId="466"/>
            <ac:spMk id="2" creationId="{909DC09D-B9A6-4493-9A72-1CA7ECB1F5CA}"/>
          </ac:spMkLst>
        </pc:spChg>
        <pc:spChg chg="mod">
          <ac:chgData name="Thomas Stensitzki" userId="75cafe6b-2f2a-469b-85c4-eec3b9c972ba" providerId="ADAL" clId="{363DE228-8D93-47E2-A1D5-6CB8C68569A9}" dt="2021-04-13T16:04:38.921" v="3176" actId="20577"/>
          <ac:spMkLst>
            <pc:docMk/>
            <pc:sldMk cId="749460758" sldId="466"/>
            <ac:spMk id="5" creationId="{C24DACB5-1BEC-4C86-9652-BAFD8DE56FEF}"/>
          </ac:spMkLst>
        </pc:spChg>
      </pc:sldChg>
      <pc:sldChg chg="modSp add mod ord">
        <pc:chgData name="Thomas Stensitzki" userId="75cafe6b-2f2a-469b-85c4-eec3b9c972ba" providerId="ADAL" clId="{363DE228-8D93-47E2-A1D5-6CB8C68569A9}" dt="2021-04-13T16:04:31.774" v="3174" actId="20577"/>
        <pc:sldMkLst>
          <pc:docMk/>
          <pc:sldMk cId="2400256164" sldId="467"/>
        </pc:sldMkLst>
        <pc:spChg chg="mod">
          <ac:chgData name="Thomas Stensitzki" userId="75cafe6b-2f2a-469b-85c4-eec3b9c972ba" providerId="ADAL" clId="{363DE228-8D93-47E2-A1D5-6CB8C68569A9}" dt="2021-04-13T16:03:24.453" v="3103" actId="14100"/>
          <ac:spMkLst>
            <pc:docMk/>
            <pc:sldMk cId="2400256164" sldId="467"/>
            <ac:spMk id="2" creationId="{909DC09D-B9A6-4493-9A72-1CA7ECB1F5CA}"/>
          </ac:spMkLst>
        </pc:spChg>
        <pc:spChg chg="mod">
          <ac:chgData name="Thomas Stensitzki" userId="75cafe6b-2f2a-469b-85c4-eec3b9c972ba" providerId="ADAL" clId="{363DE228-8D93-47E2-A1D5-6CB8C68569A9}" dt="2021-04-13T16:04:31.774" v="3174" actId="20577"/>
          <ac:spMkLst>
            <pc:docMk/>
            <pc:sldMk cId="2400256164" sldId="467"/>
            <ac:spMk id="5" creationId="{C24DACB5-1BEC-4C86-9652-BAFD8DE56FEF}"/>
          </ac:spMkLst>
        </pc:spChg>
      </pc:sldChg>
      <pc:sldChg chg="modSp add mod ord">
        <pc:chgData name="Thomas Stensitzki" userId="75cafe6b-2f2a-469b-85c4-eec3b9c972ba" providerId="ADAL" clId="{363DE228-8D93-47E2-A1D5-6CB8C68569A9}" dt="2021-04-13T16:04:22.751" v="3172" actId="20577"/>
        <pc:sldMkLst>
          <pc:docMk/>
          <pc:sldMk cId="980357780" sldId="468"/>
        </pc:sldMkLst>
        <pc:spChg chg="mod">
          <ac:chgData name="Thomas Stensitzki" userId="75cafe6b-2f2a-469b-85c4-eec3b9c972ba" providerId="ADAL" clId="{363DE228-8D93-47E2-A1D5-6CB8C68569A9}" dt="2021-04-13T16:03:46.991" v="3126" actId="14100"/>
          <ac:spMkLst>
            <pc:docMk/>
            <pc:sldMk cId="980357780" sldId="468"/>
            <ac:spMk id="2" creationId="{909DC09D-B9A6-4493-9A72-1CA7ECB1F5CA}"/>
          </ac:spMkLst>
        </pc:spChg>
        <pc:spChg chg="mod">
          <ac:chgData name="Thomas Stensitzki" userId="75cafe6b-2f2a-469b-85c4-eec3b9c972ba" providerId="ADAL" clId="{363DE228-8D93-47E2-A1D5-6CB8C68569A9}" dt="2021-04-13T16:04:22.751" v="3172" actId="20577"/>
          <ac:spMkLst>
            <pc:docMk/>
            <pc:sldMk cId="980357780" sldId="468"/>
            <ac:spMk id="5" creationId="{C24DACB5-1BEC-4C86-9652-BAFD8DE56FEF}"/>
          </ac:spMkLst>
        </pc:spChg>
      </pc:sldChg>
      <pc:sldChg chg="modSp add mod ord">
        <pc:chgData name="Thomas Stensitzki" userId="75cafe6b-2f2a-469b-85c4-eec3b9c972ba" providerId="ADAL" clId="{363DE228-8D93-47E2-A1D5-6CB8C68569A9}" dt="2021-04-13T16:04:16.308" v="3170" actId="20577"/>
        <pc:sldMkLst>
          <pc:docMk/>
          <pc:sldMk cId="1498882424" sldId="469"/>
        </pc:sldMkLst>
        <pc:spChg chg="mod">
          <ac:chgData name="Thomas Stensitzki" userId="75cafe6b-2f2a-469b-85c4-eec3b9c972ba" providerId="ADAL" clId="{363DE228-8D93-47E2-A1D5-6CB8C68569A9}" dt="2021-04-13T16:04:08.845" v="3168" actId="1035"/>
          <ac:spMkLst>
            <pc:docMk/>
            <pc:sldMk cId="1498882424" sldId="469"/>
            <ac:spMk id="2" creationId="{909DC09D-B9A6-4493-9A72-1CA7ECB1F5CA}"/>
          </ac:spMkLst>
        </pc:spChg>
        <pc:spChg chg="mod">
          <ac:chgData name="Thomas Stensitzki" userId="75cafe6b-2f2a-469b-85c4-eec3b9c972ba" providerId="ADAL" clId="{363DE228-8D93-47E2-A1D5-6CB8C68569A9}" dt="2021-04-13T16:04:16.308" v="3170" actId="20577"/>
          <ac:spMkLst>
            <pc:docMk/>
            <pc:sldMk cId="1498882424" sldId="469"/>
            <ac:spMk id="5" creationId="{C24DACB5-1BEC-4C86-9652-BAFD8DE56FEF}"/>
          </ac:spMkLst>
        </pc:spChg>
      </pc:sldChg>
      <pc:sldChg chg="modSp add mod ord">
        <pc:chgData name="Thomas Stensitzki" userId="75cafe6b-2f2a-469b-85c4-eec3b9c972ba" providerId="ADAL" clId="{363DE228-8D93-47E2-A1D5-6CB8C68569A9}" dt="2021-04-13T16:05:07.975" v="3203" actId="1035"/>
        <pc:sldMkLst>
          <pc:docMk/>
          <pc:sldMk cId="4225794366" sldId="470"/>
        </pc:sldMkLst>
        <pc:spChg chg="mod">
          <ac:chgData name="Thomas Stensitzki" userId="75cafe6b-2f2a-469b-85c4-eec3b9c972ba" providerId="ADAL" clId="{363DE228-8D93-47E2-A1D5-6CB8C68569A9}" dt="2021-04-13T16:05:07.975" v="3203" actId="1035"/>
          <ac:spMkLst>
            <pc:docMk/>
            <pc:sldMk cId="4225794366" sldId="470"/>
            <ac:spMk id="2" creationId="{909DC09D-B9A6-4493-9A72-1CA7ECB1F5CA}"/>
          </ac:spMkLst>
        </pc:spChg>
      </pc:sldChg>
      <pc:sldChg chg="modSp add mod ord">
        <pc:chgData name="Thomas Stensitzki" userId="75cafe6b-2f2a-469b-85c4-eec3b9c972ba" providerId="ADAL" clId="{363DE228-8D93-47E2-A1D5-6CB8C68569A9}" dt="2021-04-13T16:05:51.873" v="3236" actId="1036"/>
        <pc:sldMkLst>
          <pc:docMk/>
          <pc:sldMk cId="755424041" sldId="471"/>
        </pc:sldMkLst>
        <pc:spChg chg="mod">
          <ac:chgData name="Thomas Stensitzki" userId="75cafe6b-2f2a-469b-85c4-eec3b9c972ba" providerId="ADAL" clId="{363DE228-8D93-47E2-A1D5-6CB8C68569A9}" dt="2021-04-13T16:05:51.873" v="3236" actId="1036"/>
          <ac:spMkLst>
            <pc:docMk/>
            <pc:sldMk cId="755424041" sldId="471"/>
            <ac:spMk id="2" creationId="{909DC09D-B9A6-4493-9A72-1CA7ECB1F5CA}"/>
          </ac:spMkLst>
        </pc:spChg>
      </pc:sldChg>
      <pc:sldChg chg="modSp add mod ord">
        <pc:chgData name="Thomas Stensitzki" userId="75cafe6b-2f2a-469b-85c4-eec3b9c972ba" providerId="ADAL" clId="{363DE228-8D93-47E2-A1D5-6CB8C68569A9}" dt="2021-04-13T16:06:07.369" v="3263" actId="1035"/>
        <pc:sldMkLst>
          <pc:docMk/>
          <pc:sldMk cId="2377230893" sldId="472"/>
        </pc:sldMkLst>
        <pc:spChg chg="mod">
          <ac:chgData name="Thomas Stensitzki" userId="75cafe6b-2f2a-469b-85c4-eec3b9c972ba" providerId="ADAL" clId="{363DE228-8D93-47E2-A1D5-6CB8C68569A9}" dt="2021-04-13T16:06:07.369" v="3263" actId="1035"/>
          <ac:spMkLst>
            <pc:docMk/>
            <pc:sldMk cId="2377230893" sldId="472"/>
            <ac:spMk id="2" creationId="{909DC09D-B9A6-4493-9A72-1CA7ECB1F5CA}"/>
          </ac:spMkLst>
        </pc:spChg>
      </pc:sldChg>
      <pc:sldChg chg="modSp add mod ord">
        <pc:chgData name="Thomas Stensitzki" userId="75cafe6b-2f2a-469b-85c4-eec3b9c972ba" providerId="ADAL" clId="{363DE228-8D93-47E2-A1D5-6CB8C68569A9}" dt="2021-04-13T16:06:34.039" v="3300" actId="1036"/>
        <pc:sldMkLst>
          <pc:docMk/>
          <pc:sldMk cId="2293811491" sldId="473"/>
        </pc:sldMkLst>
        <pc:spChg chg="mod">
          <ac:chgData name="Thomas Stensitzki" userId="75cafe6b-2f2a-469b-85c4-eec3b9c972ba" providerId="ADAL" clId="{363DE228-8D93-47E2-A1D5-6CB8C68569A9}" dt="2021-04-13T16:06:34.039" v="3300" actId="1036"/>
          <ac:spMkLst>
            <pc:docMk/>
            <pc:sldMk cId="2293811491" sldId="473"/>
            <ac:spMk id="2" creationId="{909DC09D-B9A6-4493-9A72-1CA7ECB1F5CA}"/>
          </ac:spMkLst>
        </pc:spChg>
      </pc:sldChg>
      <pc:sldChg chg="modSp add mod">
        <pc:chgData name="Thomas Stensitzki" userId="75cafe6b-2f2a-469b-85c4-eec3b9c972ba" providerId="ADAL" clId="{363DE228-8D93-47E2-A1D5-6CB8C68569A9}" dt="2021-04-13T16:06:47.171" v="3320" actId="1036"/>
        <pc:sldMkLst>
          <pc:docMk/>
          <pc:sldMk cId="3651213508" sldId="474"/>
        </pc:sldMkLst>
        <pc:spChg chg="mod">
          <ac:chgData name="Thomas Stensitzki" userId="75cafe6b-2f2a-469b-85c4-eec3b9c972ba" providerId="ADAL" clId="{363DE228-8D93-47E2-A1D5-6CB8C68569A9}" dt="2021-04-13T16:06:47.171" v="3320" actId="1036"/>
          <ac:spMkLst>
            <pc:docMk/>
            <pc:sldMk cId="3651213508" sldId="474"/>
            <ac:spMk id="2" creationId="{909DC09D-B9A6-4493-9A72-1CA7ECB1F5CA}"/>
          </ac:spMkLst>
        </pc:spChg>
      </pc:sldChg>
      <pc:sldChg chg="modSp add mod ord">
        <pc:chgData name="Thomas Stensitzki" userId="75cafe6b-2f2a-469b-85c4-eec3b9c972ba" providerId="ADAL" clId="{363DE228-8D93-47E2-A1D5-6CB8C68569A9}" dt="2021-04-13T16:07:01.826" v="3346" actId="1035"/>
        <pc:sldMkLst>
          <pc:docMk/>
          <pc:sldMk cId="2954743898" sldId="475"/>
        </pc:sldMkLst>
        <pc:spChg chg="mod">
          <ac:chgData name="Thomas Stensitzki" userId="75cafe6b-2f2a-469b-85c4-eec3b9c972ba" providerId="ADAL" clId="{363DE228-8D93-47E2-A1D5-6CB8C68569A9}" dt="2021-04-13T16:07:01.826" v="3346" actId="1035"/>
          <ac:spMkLst>
            <pc:docMk/>
            <pc:sldMk cId="2954743898" sldId="475"/>
            <ac:spMk id="2" creationId="{909DC09D-B9A6-4493-9A72-1CA7ECB1F5CA}"/>
          </ac:spMkLst>
        </pc:spChg>
      </pc:sldChg>
      <pc:sldChg chg="modSp add mod ord">
        <pc:chgData name="Thomas Stensitzki" userId="75cafe6b-2f2a-469b-85c4-eec3b9c972ba" providerId="ADAL" clId="{363DE228-8D93-47E2-A1D5-6CB8C68569A9}" dt="2021-04-13T16:07:12.843" v="3368" actId="1036"/>
        <pc:sldMkLst>
          <pc:docMk/>
          <pc:sldMk cId="3637848067" sldId="476"/>
        </pc:sldMkLst>
        <pc:spChg chg="mod">
          <ac:chgData name="Thomas Stensitzki" userId="75cafe6b-2f2a-469b-85c4-eec3b9c972ba" providerId="ADAL" clId="{363DE228-8D93-47E2-A1D5-6CB8C68569A9}" dt="2021-04-13T16:07:12.843" v="3368" actId="1036"/>
          <ac:spMkLst>
            <pc:docMk/>
            <pc:sldMk cId="3637848067" sldId="476"/>
            <ac:spMk id="2" creationId="{909DC09D-B9A6-4493-9A72-1CA7ECB1F5CA}"/>
          </ac:spMkLst>
        </pc:spChg>
      </pc:sldChg>
      <pc:sldChg chg="modSp add mod ord">
        <pc:chgData name="Thomas Stensitzki" userId="75cafe6b-2f2a-469b-85c4-eec3b9c972ba" providerId="ADAL" clId="{363DE228-8D93-47E2-A1D5-6CB8C68569A9}" dt="2021-04-13T16:07:31.139" v="3394" actId="14100"/>
        <pc:sldMkLst>
          <pc:docMk/>
          <pc:sldMk cId="1694765860" sldId="477"/>
        </pc:sldMkLst>
        <pc:spChg chg="mod">
          <ac:chgData name="Thomas Stensitzki" userId="75cafe6b-2f2a-469b-85c4-eec3b9c972ba" providerId="ADAL" clId="{363DE228-8D93-47E2-A1D5-6CB8C68569A9}" dt="2021-04-13T16:07:31.139" v="3394" actId="14100"/>
          <ac:spMkLst>
            <pc:docMk/>
            <pc:sldMk cId="1694765860" sldId="477"/>
            <ac:spMk id="2" creationId="{909DC09D-B9A6-4493-9A72-1CA7ECB1F5CA}"/>
          </ac:spMkLst>
        </pc:spChg>
      </pc:sldChg>
      <pc:sldChg chg="modSp add mod">
        <pc:chgData name="Thomas Stensitzki" userId="75cafe6b-2f2a-469b-85c4-eec3b9c972ba" providerId="ADAL" clId="{363DE228-8D93-47E2-A1D5-6CB8C68569A9}" dt="2021-04-13T16:07:52.644" v="3419" actId="14100"/>
        <pc:sldMkLst>
          <pc:docMk/>
          <pc:sldMk cId="1953275783" sldId="478"/>
        </pc:sldMkLst>
        <pc:spChg chg="mod">
          <ac:chgData name="Thomas Stensitzki" userId="75cafe6b-2f2a-469b-85c4-eec3b9c972ba" providerId="ADAL" clId="{363DE228-8D93-47E2-A1D5-6CB8C68569A9}" dt="2021-04-13T16:07:52.644" v="3419" actId="14100"/>
          <ac:spMkLst>
            <pc:docMk/>
            <pc:sldMk cId="1953275783" sldId="478"/>
            <ac:spMk id="2" creationId="{909DC09D-B9A6-4493-9A72-1CA7ECB1F5CA}"/>
          </ac:spMkLst>
        </pc:spChg>
      </pc:sldChg>
      <pc:sldChg chg="modSp add mod">
        <pc:chgData name="Thomas Stensitzki" userId="75cafe6b-2f2a-469b-85c4-eec3b9c972ba" providerId="ADAL" clId="{363DE228-8D93-47E2-A1D5-6CB8C68569A9}" dt="2021-04-13T16:08:06.638" v="3444" actId="1036"/>
        <pc:sldMkLst>
          <pc:docMk/>
          <pc:sldMk cId="642574017" sldId="479"/>
        </pc:sldMkLst>
        <pc:spChg chg="mod">
          <ac:chgData name="Thomas Stensitzki" userId="75cafe6b-2f2a-469b-85c4-eec3b9c972ba" providerId="ADAL" clId="{363DE228-8D93-47E2-A1D5-6CB8C68569A9}" dt="2021-04-13T16:08:06.638" v="3444" actId="1036"/>
          <ac:spMkLst>
            <pc:docMk/>
            <pc:sldMk cId="642574017" sldId="479"/>
            <ac:spMk id="2" creationId="{909DC09D-B9A6-4493-9A72-1CA7ECB1F5CA}"/>
          </ac:spMkLst>
        </pc:spChg>
      </pc:sldChg>
      <pc:sldChg chg="modSp add mod ord">
        <pc:chgData name="Thomas Stensitzki" userId="75cafe6b-2f2a-469b-85c4-eec3b9c972ba" providerId="ADAL" clId="{363DE228-8D93-47E2-A1D5-6CB8C68569A9}" dt="2021-04-13T16:08:19.199" v="3465" actId="1035"/>
        <pc:sldMkLst>
          <pc:docMk/>
          <pc:sldMk cId="2167556490" sldId="480"/>
        </pc:sldMkLst>
        <pc:spChg chg="mod">
          <ac:chgData name="Thomas Stensitzki" userId="75cafe6b-2f2a-469b-85c4-eec3b9c972ba" providerId="ADAL" clId="{363DE228-8D93-47E2-A1D5-6CB8C68569A9}" dt="2021-04-13T16:08:19.199" v="3465" actId="1035"/>
          <ac:spMkLst>
            <pc:docMk/>
            <pc:sldMk cId="2167556490" sldId="480"/>
            <ac:spMk id="2" creationId="{909DC09D-B9A6-4493-9A72-1CA7ECB1F5CA}"/>
          </ac:spMkLst>
        </pc:spChg>
      </pc:sldChg>
      <pc:sldChg chg="modSp add mod ord modNotesTx">
        <pc:chgData name="Thomas Stensitzki" userId="75cafe6b-2f2a-469b-85c4-eec3b9c972ba" providerId="ADAL" clId="{363DE228-8D93-47E2-A1D5-6CB8C68569A9}" dt="2021-04-13T16:12:40.832" v="3593" actId="6549"/>
        <pc:sldMkLst>
          <pc:docMk/>
          <pc:sldMk cId="1129715017" sldId="481"/>
        </pc:sldMkLst>
        <pc:spChg chg="mod">
          <ac:chgData name="Thomas Stensitzki" userId="75cafe6b-2f2a-469b-85c4-eec3b9c972ba" providerId="ADAL" clId="{363DE228-8D93-47E2-A1D5-6CB8C68569A9}" dt="2021-04-13T16:11:22.912" v="3517" actId="1035"/>
          <ac:spMkLst>
            <pc:docMk/>
            <pc:sldMk cId="1129715017" sldId="481"/>
            <ac:spMk id="2" creationId="{909DC09D-B9A6-4493-9A72-1CA7ECB1F5CA}"/>
          </ac:spMkLst>
        </pc:spChg>
        <pc:spChg chg="mod">
          <ac:chgData name="Thomas Stensitzki" userId="75cafe6b-2f2a-469b-85c4-eec3b9c972ba" providerId="ADAL" clId="{363DE228-8D93-47E2-A1D5-6CB8C68569A9}" dt="2021-04-13T16:11:14.137" v="3488" actId="20577"/>
          <ac:spMkLst>
            <pc:docMk/>
            <pc:sldMk cId="1129715017" sldId="481"/>
            <ac:spMk id="5" creationId="{C24DACB5-1BEC-4C86-9652-BAFD8DE56FEF}"/>
          </ac:spMkLst>
        </pc:spChg>
      </pc:sldChg>
      <pc:sldChg chg="modSp add mod ord modNotesTx">
        <pc:chgData name="Thomas Stensitzki" userId="75cafe6b-2f2a-469b-85c4-eec3b9c972ba" providerId="ADAL" clId="{363DE228-8D93-47E2-A1D5-6CB8C68569A9}" dt="2021-04-13T16:12:35.724" v="3592" actId="6549"/>
        <pc:sldMkLst>
          <pc:docMk/>
          <pc:sldMk cId="447580809" sldId="482"/>
        </pc:sldMkLst>
        <pc:spChg chg="mod">
          <ac:chgData name="Thomas Stensitzki" userId="75cafe6b-2f2a-469b-85c4-eec3b9c972ba" providerId="ADAL" clId="{363DE228-8D93-47E2-A1D5-6CB8C68569A9}" dt="2021-04-13T16:11:48.887" v="3557" actId="14100"/>
          <ac:spMkLst>
            <pc:docMk/>
            <pc:sldMk cId="447580809" sldId="482"/>
            <ac:spMk id="2" creationId="{909DC09D-B9A6-4493-9A72-1CA7ECB1F5CA}"/>
          </ac:spMkLst>
        </pc:spChg>
      </pc:sldChg>
      <pc:sldChg chg="modSp add mod ord">
        <pc:chgData name="Thomas Stensitzki" userId="75cafe6b-2f2a-469b-85c4-eec3b9c972ba" providerId="ADAL" clId="{363DE228-8D93-47E2-A1D5-6CB8C68569A9}" dt="2021-04-13T16:12:09.558" v="3563" actId="14100"/>
        <pc:sldMkLst>
          <pc:docMk/>
          <pc:sldMk cId="2109578151" sldId="483"/>
        </pc:sldMkLst>
        <pc:spChg chg="mod">
          <ac:chgData name="Thomas Stensitzki" userId="75cafe6b-2f2a-469b-85c4-eec3b9c972ba" providerId="ADAL" clId="{363DE228-8D93-47E2-A1D5-6CB8C68569A9}" dt="2021-04-13T16:12:09.558" v="3563" actId="14100"/>
          <ac:spMkLst>
            <pc:docMk/>
            <pc:sldMk cId="2109578151" sldId="483"/>
            <ac:spMk id="2" creationId="{909DC09D-B9A6-4493-9A72-1CA7ECB1F5CA}"/>
          </ac:spMkLst>
        </pc:spChg>
      </pc:sldChg>
      <pc:sldChg chg="modSp add mod modNotesTx">
        <pc:chgData name="Thomas Stensitzki" userId="75cafe6b-2f2a-469b-85c4-eec3b9c972ba" providerId="ADAL" clId="{363DE228-8D93-47E2-A1D5-6CB8C68569A9}" dt="2021-04-13T16:12:29.431" v="3591" actId="6549"/>
        <pc:sldMkLst>
          <pc:docMk/>
          <pc:sldMk cId="3880581928" sldId="484"/>
        </pc:sldMkLst>
        <pc:spChg chg="mod">
          <ac:chgData name="Thomas Stensitzki" userId="75cafe6b-2f2a-469b-85c4-eec3b9c972ba" providerId="ADAL" clId="{363DE228-8D93-47E2-A1D5-6CB8C68569A9}" dt="2021-04-13T16:12:21.007" v="3590" actId="1035"/>
          <ac:spMkLst>
            <pc:docMk/>
            <pc:sldMk cId="3880581928" sldId="484"/>
            <ac:spMk id="2" creationId="{909DC09D-B9A6-4493-9A72-1CA7ECB1F5CA}"/>
          </ac:spMkLst>
        </pc:spChg>
      </pc:sldChg>
      <pc:sldChg chg="modSp add mod modNotesTx">
        <pc:chgData name="Thomas Stensitzki" userId="75cafe6b-2f2a-469b-85c4-eec3b9c972ba" providerId="ADAL" clId="{363DE228-8D93-47E2-A1D5-6CB8C68569A9}" dt="2021-04-13T16:13:36.587" v="3658" actId="6549"/>
        <pc:sldMkLst>
          <pc:docMk/>
          <pc:sldMk cId="1578197255" sldId="485"/>
        </pc:sldMkLst>
        <pc:spChg chg="mod">
          <ac:chgData name="Thomas Stensitzki" userId="75cafe6b-2f2a-469b-85c4-eec3b9c972ba" providerId="ADAL" clId="{363DE228-8D93-47E2-A1D5-6CB8C68569A9}" dt="2021-04-13T16:13:15.144" v="3630" actId="1035"/>
          <ac:spMkLst>
            <pc:docMk/>
            <pc:sldMk cId="1578197255" sldId="485"/>
            <ac:spMk id="2" creationId="{909DC09D-B9A6-4493-9A72-1CA7ECB1F5CA}"/>
          </ac:spMkLst>
        </pc:spChg>
      </pc:sldChg>
      <pc:sldChg chg="modSp add mod">
        <pc:chgData name="Thomas Stensitzki" userId="75cafe6b-2f2a-469b-85c4-eec3b9c972ba" providerId="ADAL" clId="{363DE228-8D93-47E2-A1D5-6CB8C68569A9}" dt="2021-04-13T16:13:29.521" v="3657" actId="1036"/>
        <pc:sldMkLst>
          <pc:docMk/>
          <pc:sldMk cId="129048746" sldId="486"/>
        </pc:sldMkLst>
        <pc:spChg chg="mod">
          <ac:chgData name="Thomas Stensitzki" userId="75cafe6b-2f2a-469b-85c4-eec3b9c972ba" providerId="ADAL" clId="{363DE228-8D93-47E2-A1D5-6CB8C68569A9}" dt="2021-04-13T16:13:29.521" v="3657" actId="1036"/>
          <ac:spMkLst>
            <pc:docMk/>
            <pc:sldMk cId="129048746" sldId="486"/>
            <ac:spMk id="2" creationId="{909DC09D-B9A6-4493-9A72-1CA7ECB1F5CA}"/>
          </ac:spMkLst>
        </pc:spChg>
      </pc:sldChg>
      <pc:sldChg chg="addSp delSp modSp add mod">
        <pc:chgData name="Thomas Stensitzki" userId="75cafe6b-2f2a-469b-85c4-eec3b9c972ba" providerId="ADAL" clId="{363DE228-8D93-47E2-A1D5-6CB8C68569A9}" dt="2021-04-13T16:14:03.456" v="3692"/>
        <pc:sldMkLst>
          <pc:docMk/>
          <pc:sldMk cId="3805749550" sldId="487"/>
        </pc:sldMkLst>
        <pc:spChg chg="mod">
          <ac:chgData name="Thomas Stensitzki" userId="75cafe6b-2f2a-469b-85c4-eec3b9c972ba" providerId="ADAL" clId="{363DE228-8D93-47E2-A1D5-6CB8C68569A9}" dt="2021-04-13T16:13:56.978" v="3690" actId="1035"/>
          <ac:spMkLst>
            <pc:docMk/>
            <pc:sldMk cId="3805749550" sldId="487"/>
            <ac:spMk id="2" creationId="{909DC09D-B9A6-4493-9A72-1CA7ECB1F5CA}"/>
          </ac:spMkLst>
        </pc:spChg>
        <pc:spChg chg="add del mod">
          <ac:chgData name="Thomas Stensitzki" userId="75cafe6b-2f2a-469b-85c4-eec3b9c972ba" providerId="ADAL" clId="{363DE228-8D93-47E2-A1D5-6CB8C68569A9}" dt="2021-04-13T16:14:03.456" v="3692"/>
          <ac:spMkLst>
            <pc:docMk/>
            <pc:sldMk cId="3805749550" sldId="487"/>
            <ac:spMk id="6" creationId="{2247C5DC-A300-4E24-8030-8875DEAEF50F}"/>
          </ac:spMkLst>
        </pc:spChg>
      </pc:sldChg>
      <pc:sldChg chg="modSp add mod">
        <pc:chgData name="Thomas Stensitzki" userId="75cafe6b-2f2a-469b-85c4-eec3b9c972ba" providerId="ADAL" clId="{363DE228-8D93-47E2-A1D5-6CB8C68569A9}" dt="2021-04-13T16:14:10.905" v="3714" actId="1036"/>
        <pc:sldMkLst>
          <pc:docMk/>
          <pc:sldMk cId="2133647224" sldId="488"/>
        </pc:sldMkLst>
        <pc:spChg chg="mod">
          <ac:chgData name="Thomas Stensitzki" userId="75cafe6b-2f2a-469b-85c4-eec3b9c972ba" providerId="ADAL" clId="{363DE228-8D93-47E2-A1D5-6CB8C68569A9}" dt="2021-04-13T16:14:10.905" v="3714" actId="1036"/>
          <ac:spMkLst>
            <pc:docMk/>
            <pc:sldMk cId="2133647224" sldId="488"/>
            <ac:spMk id="2" creationId="{909DC09D-B9A6-4493-9A72-1CA7ECB1F5CA}"/>
          </ac:spMkLst>
        </pc:spChg>
      </pc:sldChg>
      <pc:sldChg chg="modSp add mod ord modNotesTx">
        <pc:chgData name="Thomas Stensitzki" userId="75cafe6b-2f2a-469b-85c4-eec3b9c972ba" providerId="ADAL" clId="{363DE228-8D93-47E2-A1D5-6CB8C68569A9}" dt="2021-04-13T16:15:30.018" v="3780" actId="6549"/>
        <pc:sldMkLst>
          <pc:docMk/>
          <pc:sldMk cId="3106687663" sldId="489"/>
        </pc:sldMkLst>
        <pc:spChg chg="mod">
          <ac:chgData name="Thomas Stensitzki" userId="75cafe6b-2f2a-469b-85c4-eec3b9c972ba" providerId="ADAL" clId="{363DE228-8D93-47E2-A1D5-6CB8C68569A9}" dt="2021-04-13T16:14:58.216" v="3749" actId="1035"/>
          <ac:spMkLst>
            <pc:docMk/>
            <pc:sldMk cId="3106687663" sldId="489"/>
            <ac:spMk id="2" creationId="{909DC09D-B9A6-4493-9A72-1CA7ECB1F5CA}"/>
          </ac:spMkLst>
        </pc:spChg>
      </pc:sldChg>
      <pc:sldChg chg="modSp add mod ord">
        <pc:chgData name="Thomas Stensitzki" userId="75cafe6b-2f2a-469b-85c4-eec3b9c972ba" providerId="ADAL" clId="{363DE228-8D93-47E2-A1D5-6CB8C68569A9}" dt="2021-04-13T16:15:18.568" v="3779" actId="14100"/>
        <pc:sldMkLst>
          <pc:docMk/>
          <pc:sldMk cId="344419499" sldId="490"/>
        </pc:sldMkLst>
        <pc:spChg chg="mod">
          <ac:chgData name="Thomas Stensitzki" userId="75cafe6b-2f2a-469b-85c4-eec3b9c972ba" providerId="ADAL" clId="{363DE228-8D93-47E2-A1D5-6CB8C68569A9}" dt="2021-04-13T16:15:18.568" v="3779" actId="14100"/>
          <ac:spMkLst>
            <pc:docMk/>
            <pc:sldMk cId="344419499" sldId="490"/>
            <ac:spMk id="2" creationId="{909DC09D-B9A6-4493-9A72-1CA7ECB1F5CA}"/>
          </ac:spMkLst>
        </pc:spChg>
      </pc:sldChg>
      <pc:sldChg chg="addSp delSp modSp add mod">
        <pc:chgData name="Thomas Stensitzki" userId="75cafe6b-2f2a-469b-85c4-eec3b9c972ba" providerId="ADAL" clId="{363DE228-8D93-47E2-A1D5-6CB8C68569A9}" dt="2021-04-17T16:51:45.081" v="4048" actId="478"/>
        <pc:sldMkLst>
          <pc:docMk/>
          <pc:sldMk cId="3946489210" sldId="491"/>
        </pc:sldMkLst>
        <pc:spChg chg="del">
          <ac:chgData name="Thomas Stensitzki" userId="75cafe6b-2f2a-469b-85c4-eec3b9c972ba" providerId="ADAL" clId="{363DE228-8D93-47E2-A1D5-6CB8C68569A9}" dt="2021-04-17T16:46:29.580" v="3946" actId="478"/>
          <ac:spMkLst>
            <pc:docMk/>
            <pc:sldMk cId="3946489210" sldId="491"/>
            <ac:spMk id="2" creationId="{86A4A9C3-88F1-47B1-832C-DF14CF7A00CF}"/>
          </ac:spMkLst>
        </pc:spChg>
        <pc:spChg chg="del mod">
          <ac:chgData name="Thomas Stensitzki" userId="75cafe6b-2f2a-469b-85c4-eec3b9c972ba" providerId="ADAL" clId="{363DE228-8D93-47E2-A1D5-6CB8C68569A9}" dt="2021-04-17T16:51:30.714" v="4047" actId="478"/>
          <ac:spMkLst>
            <pc:docMk/>
            <pc:sldMk cId="3946489210" sldId="491"/>
            <ac:spMk id="3" creationId="{CBA95633-B02D-4A15-A8B1-A38E0A70FD27}"/>
          </ac:spMkLst>
        </pc:spChg>
        <pc:spChg chg="add del mod">
          <ac:chgData name="Thomas Stensitzki" userId="75cafe6b-2f2a-469b-85c4-eec3b9c972ba" providerId="ADAL" clId="{363DE228-8D93-47E2-A1D5-6CB8C68569A9}" dt="2021-04-17T16:46:31.691" v="3947" actId="478"/>
          <ac:spMkLst>
            <pc:docMk/>
            <pc:sldMk cId="3946489210" sldId="491"/>
            <ac:spMk id="5" creationId="{F1147857-D483-4933-9D90-2F212DBC4A97}"/>
          </ac:spMkLst>
        </pc:spChg>
        <pc:spChg chg="add mod">
          <ac:chgData name="Thomas Stensitzki" userId="75cafe6b-2f2a-469b-85c4-eec3b9c972ba" providerId="ADAL" clId="{363DE228-8D93-47E2-A1D5-6CB8C68569A9}" dt="2021-04-17T16:50:52.145" v="3997" actId="108"/>
          <ac:spMkLst>
            <pc:docMk/>
            <pc:sldMk cId="3946489210" sldId="491"/>
            <ac:spMk id="6" creationId="{EA252111-2DC5-4225-9C36-9E59262ACFF5}"/>
          </ac:spMkLst>
        </pc:spChg>
        <pc:spChg chg="add mod">
          <ac:chgData name="Thomas Stensitzki" userId="75cafe6b-2f2a-469b-85c4-eec3b9c972ba" providerId="ADAL" clId="{363DE228-8D93-47E2-A1D5-6CB8C68569A9}" dt="2021-04-17T16:51:22.710" v="4026" actId="1035"/>
          <ac:spMkLst>
            <pc:docMk/>
            <pc:sldMk cId="3946489210" sldId="491"/>
            <ac:spMk id="7" creationId="{A77062F2-E3B9-4230-9446-1FF51090FD82}"/>
          </ac:spMkLst>
        </pc:spChg>
        <pc:spChg chg="add mod">
          <ac:chgData name="Thomas Stensitzki" userId="75cafe6b-2f2a-469b-85c4-eec3b9c972ba" providerId="ADAL" clId="{363DE228-8D93-47E2-A1D5-6CB8C68569A9}" dt="2021-04-17T16:51:19.974" v="4021" actId="1036"/>
          <ac:spMkLst>
            <pc:docMk/>
            <pc:sldMk cId="3946489210" sldId="491"/>
            <ac:spMk id="8" creationId="{05EE9CC1-A2F7-4BDD-8234-105E3FEC49FE}"/>
          </ac:spMkLst>
        </pc:spChg>
        <pc:spChg chg="add mod">
          <ac:chgData name="Thomas Stensitzki" userId="75cafe6b-2f2a-469b-85c4-eec3b9c972ba" providerId="ADAL" clId="{363DE228-8D93-47E2-A1D5-6CB8C68569A9}" dt="2021-04-17T16:51:28.229" v="4046" actId="1035"/>
          <ac:spMkLst>
            <pc:docMk/>
            <pc:sldMk cId="3946489210" sldId="491"/>
            <ac:spMk id="9" creationId="{0EECB2FE-7B66-4F87-BA62-5FB00090E3B1}"/>
          </ac:spMkLst>
        </pc:spChg>
        <pc:spChg chg="add del mod">
          <ac:chgData name="Thomas Stensitzki" userId="75cafe6b-2f2a-469b-85c4-eec3b9c972ba" providerId="ADAL" clId="{363DE228-8D93-47E2-A1D5-6CB8C68569A9}" dt="2021-04-17T16:51:45.081" v="4048" actId="478"/>
          <ac:spMkLst>
            <pc:docMk/>
            <pc:sldMk cId="3946489210" sldId="491"/>
            <ac:spMk id="11" creationId="{01BF68C4-EF3E-4EC8-BB13-660FEC79E2B6}"/>
          </ac:spMkLst>
        </pc:spChg>
      </pc:sldChg>
    </pc:docChg>
  </pc:docChgLst>
  <pc:docChgLst>
    <pc:chgData name="Thomas Stensitzki" userId="75cafe6b-2f2a-469b-85c4-eec3b9c972ba" providerId="ADAL" clId="{6585694B-F83B-4578-8CAA-5F1AF6E51586}"/>
    <pc:docChg chg="undo custSel addSld delSld modSld delSection modSection">
      <pc:chgData name="Thomas Stensitzki" userId="75cafe6b-2f2a-469b-85c4-eec3b9c972ba" providerId="ADAL" clId="{6585694B-F83B-4578-8CAA-5F1AF6E51586}" dt="2022-12-08T15:47:06.396" v="281" actId="20577"/>
      <pc:docMkLst>
        <pc:docMk/>
      </pc:docMkLst>
      <pc:sldChg chg="modSp mod">
        <pc:chgData name="Thomas Stensitzki" userId="75cafe6b-2f2a-469b-85c4-eec3b9c972ba" providerId="ADAL" clId="{6585694B-F83B-4578-8CAA-5F1AF6E51586}" dt="2022-12-04T15:26:34.427" v="13" actId="20577"/>
        <pc:sldMkLst>
          <pc:docMk/>
          <pc:sldMk cId="671489701" sldId="256"/>
        </pc:sldMkLst>
        <pc:spChg chg="mod">
          <ac:chgData name="Thomas Stensitzki" userId="75cafe6b-2f2a-469b-85c4-eec3b9c972ba" providerId="ADAL" clId="{6585694B-F83B-4578-8CAA-5F1AF6E51586}" dt="2022-12-04T15:26:34.427" v="13" actId="20577"/>
          <ac:spMkLst>
            <pc:docMk/>
            <pc:sldMk cId="671489701" sldId="256"/>
            <ac:spMk id="3" creationId="{CBA95633-B02D-4A15-A8B1-A38E0A70FD27}"/>
          </ac:spMkLst>
        </pc:spChg>
      </pc:sldChg>
      <pc:sldChg chg="modSp mod">
        <pc:chgData name="Thomas Stensitzki" userId="75cafe6b-2f2a-469b-85c4-eec3b9c972ba" providerId="ADAL" clId="{6585694B-F83B-4578-8CAA-5F1AF6E51586}" dt="2022-12-08T15:46:46.270" v="275"/>
        <pc:sldMkLst>
          <pc:docMk/>
          <pc:sldMk cId="2855324227" sldId="257"/>
        </pc:sldMkLst>
        <pc:graphicFrameChg chg="mod modGraphic">
          <ac:chgData name="Thomas Stensitzki" userId="75cafe6b-2f2a-469b-85c4-eec3b9c972ba" providerId="ADAL" clId="{6585694B-F83B-4578-8CAA-5F1AF6E51586}" dt="2022-12-08T15:46:46.270" v="275"/>
          <ac:graphicFrameMkLst>
            <pc:docMk/>
            <pc:sldMk cId="2855324227" sldId="257"/>
            <ac:graphicFrameMk id="6" creationId="{0F955DCC-462D-431D-BBDE-26F10687D590}"/>
          </ac:graphicFrameMkLst>
        </pc:graphicFrameChg>
      </pc:sldChg>
      <pc:sldChg chg="modSp mod">
        <pc:chgData name="Thomas Stensitzki" userId="75cafe6b-2f2a-469b-85c4-eec3b9c972ba" providerId="ADAL" clId="{6585694B-F83B-4578-8CAA-5F1AF6E51586}" dt="2022-12-04T15:31:52.519" v="77" actId="20577"/>
        <pc:sldMkLst>
          <pc:docMk/>
          <pc:sldMk cId="3332792154" sldId="258"/>
        </pc:sldMkLst>
        <pc:spChg chg="mod">
          <ac:chgData name="Thomas Stensitzki" userId="75cafe6b-2f2a-469b-85c4-eec3b9c972ba" providerId="ADAL" clId="{6585694B-F83B-4578-8CAA-5F1AF6E51586}" dt="2022-12-04T15:31:52.519" v="77" actId="20577"/>
          <ac:spMkLst>
            <pc:docMk/>
            <pc:sldMk cId="3332792154" sldId="258"/>
            <ac:spMk id="3" creationId="{3A5A44EB-7FB9-473A-8ED3-C49DDD2E65AB}"/>
          </ac:spMkLst>
        </pc:spChg>
      </pc:sldChg>
      <pc:sldChg chg="modSp mod">
        <pc:chgData name="Thomas Stensitzki" userId="75cafe6b-2f2a-469b-85c4-eec3b9c972ba" providerId="ADAL" clId="{6585694B-F83B-4578-8CAA-5F1AF6E51586}" dt="2022-12-08T15:47:06.396" v="281" actId="20577"/>
        <pc:sldMkLst>
          <pc:docMk/>
          <pc:sldMk cId="2698998357" sldId="260"/>
        </pc:sldMkLst>
        <pc:spChg chg="mod">
          <ac:chgData name="Thomas Stensitzki" userId="75cafe6b-2f2a-469b-85c4-eec3b9c972ba" providerId="ADAL" clId="{6585694B-F83B-4578-8CAA-5F1AF6E51586}" dt="2022-12-04T15:27:42.196" v="37"/>
          <ac:spMkLst>
            <pc:docMk/>
            <pc:sldMk cId="2698998357" sldId="260"/>
            <ac:spMk id="4" creationId="{F3A15CBD-C746-44A3-A4F0-4898CE2F02E6}"/>
          </ac:spMkLst>
        </pc:spChg>
        <pc:spChg chg="mod">
          <ac:chgData name="Thomas Stensitzki" userId="75cafe6b-2f2a-469b-85c4-eec3b9c972ba" providerId="ADAL" clId="{6585694B-F83B-4578-8CAA-5F1AF6E51586}" dt="2022-12-08T15:47:06.396" v="281" actId="20577"/>
          <ac:spMkLst>
            <pc:docMk/>
            <pc:sldMk cId="2698998357" sldId="260"/>
            <ac:spMk id="5" creationId="{F3459BE7-1731-4733-A912-12977C68CFD6}"/>
          </ac:spMkLst>
        </pc:spChg>
      </pc:sldChg>
      <pc:sldChg chg="del">
        <pc:chgData name="Thomas Stensitzki" userId="75cafe6b-2f2a-469b-85c4-eec3b9c972ba" providerId="ADAL" clId="{6585694B-F83B-4578-8CAA-5F1AF6E51586}" dt="2022-12-08T14:14:53.910" v="92" actId="18676"/>
        <pc:sldMkLst>
          <pc:docMk/>
          <pc:sldMk cId="4007670073" sldId="268"/>
        </pc:sldMkLst>
      </pc:sldChg>
      <pc:sldChg chg="modSp mod">
        <pc:chgData name="Thomas Stensitzki" userId="75cafe6b-2f2a-469b-85c4-eec3b9c972ba" providerId="ADAL" clId="{6585694B-F83B-4578-8CAA-5F1AF6E51586}" dt="2022-12-08T15:39:39.165" v="263"/>
        <pc:sldMkLst>
          <pc:docMk/>
          <pc:sldMk cId="2721051844" sldId="269"/>
        </pc:sldMkLst>
        <pc:spChg chg="mod">
          <ac:chgData name="Thomas Stensitzki" userId="75cafe6b-2f2a-469b-85c4-eec3b9c972ba" providerId="ADAL" clId="{6585694B-F83B-4578-8CAA-5F1AF6E51586}" dt="2022-12-08T15:39:39.165" v="263"/>
          <ac:spMkLst>
            <pc:docMk/>
            <pc:sldMk cId="2721051844" sldId="269"/>
            <ac:spMk id="5" creationId="{C24DACB5-1BEC-4C86-9652-BAFD8DE56FEF}"/>
          </ac:spMkLst>
        </pc:spChg>
      </pc:sldChg>
      <pc:sldChg chg="del">
        <pc:chgData name="Thomas Stensitzki" userId="75cafe6b-2f2a-469b-85c4-eec3b9c972ba" providerId="ADAL" clId="{6585694B-F83B-4578-8CAA-5F1AF6E51586}" dt="2022-12-08T14:14:40.492" v="91" actId="47"/>
        <pc:sldMkLst>
          <pc:docMk/>
          <pc:sldMk cId="2227487991" sldId="378"/>
        </pc:sldMkLst>
      </pc:sldChg>
      <pc:sldChg chg="del">
        <pc:chgData name="Thomas Stensitzki" userId="75cafe6b-2f2a-469b-85c4-eec3b9c972ba" providerId="ADAL" clId="{6585694B-F83B-4578-8CAA-5F1AF6E51586}" dt="2022-12-08T14:14:37.960" v="90" actId="18676"/>
        <pc:sldMkLst>
          <pc:docMk/>
          <pc:sldMk cId="3797754622" sldId="515"/>
        </pc:sldMkLst>
      </pc:sldChg>
      <pc:sldChg chg="modSp mod">
        <pc:chgData name="Thomas Stensitzki" userId="75cafe6b-2f2a-469b-85c4-eec3b9c972ba" providerId="ADAL" clId="{6585694B-F83B-4578-8CAA-5F1AF6E51586}" dt="2022-12-08T15:17:12.315" v="217" actId="20577"/>
        <pc:sldMkLst>
          <pc:docMk/>
          <pc:sldMk cId="1728515471" sldId="561"/>
        </pc:sldMkLst>
        <pc:graphicFrameChg chg="mod modGraphic">
          <ac:chgData name="Thomas Stensitzki" userId="75cafe6b-2f2a-469b-85c4-eec3b9c972ba" providerId="ADAL" clId="{6585694B-F83B-4578-8CAA-5F1AF6E51586}" dt="2022-12-08T15:17:12.315" v="217" actId="20577"/>
          <ac:graphicFrameMkLst>
            <pc:docMk/>
            <pc:sldMk cId="1728515471" sldId="561"/>
            <ac:graphicFrameMk id="4" creationId="{55EDB790-67BC-42E5-B64A-5647620B8383}"/>
          </ac:graphicFrameMkLst>
        </pc:graphicFrameChg>
      </pc:sldChg>
      <pc:sldChg chg="del">
        <pc:chgData name="Thomas Stensitzki" userId="75cafe6b-2f2a-469b-85c4-eec3b9c972ba" providerId="ADAL" clId="{6585694B-F83B-4578-8CAA-5F1AF6E51586}" dt="2022-12-04T15:28:36.906" v="45" actId="47"/>
        <pc:sldMkLst>
          <pc:docMk/>
          <pc:sldMk cId="4104137776" sldId="567"/>
        </pc:sldMkLst>
      </pc:sldChg>
      <pc:sldChg chg="modSp mod modShow">
        <pc:chgData name="Thomas Stensitzki" userId="75cafe6b-2f2a-469b-85c4-eec3b9c972ba" providerId="ADAL" clId="{6585694B-F83B-4578-8CAA-5F1AF6E51586}" dt="2022-12-08T15:46:34.692" v="273" actId="20577"/>
        <pc:sldMkLst>
          <pc:docMk/>
          <pc:sldMk cId="1856989855" sldId="606"/>
        </pc:sldMkLst>
        <pc:spChg chg="mod">
          <ac:chgData name="Thomas Stensitzki" userId="75cafe6b-2f2a-469b-85c4-eec3b9c972ba" providerId="ADAL" clId="{6585694B-F83B-4578-8CAA-5F1AF6E51586}" dt="2022-12-08T15:46:34.692" v="273" actId="20577"/>
          <ac:spMkLst>
            <pc:docMk/>
            <pc:sldMk cId="1856989855" sldId="606"/>
            <ac:spMk id="4" creationId="{F3A15CBD-C746-44A3-A4F0-4898CE2F02E6}"/>
          </ac:spMkLst>
        </pc:spChg>
        <pc:spChg chg="mod">
          <ac:chgData name="Thomas Stensitzki" userId="75cafe6b-2f2a-469b-85c4-eec3b9c972ba" providerId="ADAL" clId="{6585694B-F83B-4578-8CAA-5F1AF6E51586}" dt="2022-12-08T14:15:16.013" v="147" actId="20577"/>
          <ac:spMkLst>
            <pc:docMk/>
            <pc:sldMk cId="1856989855" sldId="606"/>
            <ac:spMk id="5" creationId="{F3459BE7-1731-4733-A912-12977C68CFD6}"/>
          </ac:spMkLst>
        </pc:spChg>
      </pc:sldChg>
      <pc:sldChg chg="addSp delSp modSp new mod modClrScheme chgLayout">
        <pc:chgData name="Thomas Stensitzki" userId="75cafe6b-2f2a-469b-85c4-eec3b9c972ba" providerId="ADAL" clId="{6585694B-F83B-4578-8CAA-5F1AF6E51586}" dt="2022-12-08T15:46:40.606" v="274"/>
        <pc:sldMkLst>
          <pc:docMk/>
          <pc:sldMk cId="4003618409" sldId="608"/>
        </pc:sldMkLst>
        <pc:spChg chg="del mod ord">
          <ac:chgData name="Thomas Stensitzki" userId="75cafe6b-2f2a-469b-85c4-eec3b9c972ba" providerId="ADAL" clId="{6585694B-F83B-4578-8CAA-5F1AF6E51586}" dt="2022-12-08T14:15:36.611" v="149" actId="700"/>
          <ac:spMkLst>
            <pc:docMk/>
            <pc:sldMk cId="4003618409" sldId="608"/>
            <ac:spMk id="2" creationId="{9BBEA893-F22E-CEA0-BA14-AA7B7E5CCE96}"/>
          </ac:spMkLst>
        </pc:spChg>
        <pc:spChg chg="del mod ord">
          <ac:chgData name="Thomas Stensitzki" userId="75cafe6b-2f2a-469b-85c4-eec3b9c972ba" providerId="ADAL" clId="{6585694B-F83B-4578-8CAA-5F1AF6E51586}" dt="2022-12-08T14:15:36.611" v="149" actId="700"/>
          <ac:spMkLst>
            <pc:docMk/>
            <pc:sldMk cId="4003618409" sldId="608"/>
            <ac:spMk id="3" creationId="{BB49B110-0523-266E-7A61-C2801D7B7217}"/>
          </ac:spMkLst>
        </pc:spChg>
        <pc:spChg chg="add mod ord">
          <ac:chgData name="Thomas Stensitzki" userId="75cafe6b-2f2a-469b-85c4-eec3b9c972ba" providerId="ADAL" clId="{6585694B-F83B-4578-8CAA-5F1AF6E51586}" dt="2022-12-08T15:46:40.606" v="274"/>
          <ac:spMkLst>
            <pc:docMk/>
            <pc:sldMk cId="4003618409" sldId="608"/>
            <ac:spMk id="4" creationId="{C0B0B73D-CD73-C293-5EF2-4813AD511D2F}"/>
          </ac:spMkLst>
        </pc:spChg>
        <pc:spChg chg="add mod ord">
          <ac:chgData name="Thomas Stensitzki" userId="75cafe6b-2f2a-469b-85c4-eec3b9c972ba" providerId="ADAL" clId="{6585694B-F83B-4578-8CAA-5F1AF6E51586}" dt="2022-12-08T14:15:54.001" v="184"/>
          <ac:spMkLst>
            <pc:docMk/>
            <pc:sldMk cId="4003618409" sldId="608"/>
            <ac:spMk id="5" creationId="{3066861D-633E-76ED-199F-ABF1A0FFCA7C}"/>
          </ac:spMkLst>
        </pc:spChg>
      </pc:sldChg>
      <pc:sldChg chg="del">
        <pc:chgData name="Thomas Stensitzki" userId="75cafe6b-2f2a-469b-85c4-eec3b9c972ba" providerId="ADAL" clId="{6585694B-F83B-4578-8CAA-5F1AF6E51586}" dt="2022-12-04T15:28:22.207" v="42" actId="47"/>
        <pc:sldMkLst>
          <pc:docMk/>
          <pc:sldMk cId="1055936327" sldId="615"/>
        </pc:sldMkLst>
      </pc:sldChg>
      <pc:sldChg chg="del">
        <pc:chgData name="Thomas Stensitzki" userId="75cafe6b-2f2a-469b-85c4-eec3b9c972ba" providerId="ADAL" clId="{6585694B-F83B-4578-8CAA-5F1AF6E51586}" dt="2022-12-04T15:28:13.840" v="41" actId="47"/>
        <pc:sldMkLst>
          <pc:docMk/>
          <pc:sldMk cId="4105418081" sldId="616"/>
        </pc:sldMkLst>
      </pc:sldChg>
      <pc:sldChg chg="del">
        <pc:chgData name="Thomas Stensitzki" userId="75cafe6b-2f2a-469b-85c4-eec3b9c972ba" providerId="ADAL" clId="{6585694B-F83B-4578-8CAA-5F1AF6E51586}" dt="2022-12-04T15:28:08.275" v="40" actId="47"/>
        <pc:sldMkLst>
          <pc:docMk/>
          <pc:sldMk cId="2500841606" sldId="617"/>
        </pc:sldMkLst>
      </pc:sldChg>
      <pc:sldChg chg="del">
        <pc:chgData name="Thomas Stensitzki" userId="75cafe6b-2f2a-469b-85c4-eec3b9c972ba" providerId="ADAL" clId="{6585694B-F83B-4578-8CAA-5F1AF6E51586}" dt="2022-12-04T15:28:08.275" v="40" actId="47"/>
        <pc:sldMkLst>
          <pc:docMk/>
          <pc:sldMk cId="1322085727" sldId="618"/>
        </pc:sldMkLst>
      </pc:sldChg>
      <pc:sldChg chg="del">
        <pc:chgData name="Thomas Stensitzki" userId="75cafe6b-2f2a-469b-85c4-eec3b9c972ba" providerId="ADAL" clId="{6585694B-F83B-4578-8CAA-5F1AF6E51586}" dt="2022-12-04T15:28:08.275" v="40" actId="47"/>
        <pc:sldMkLst>
          <pc:docMk/>
          <pc:sldMk cId="198888969" sldId="619"/>
        </pc:sldMkLst>
      </pc:sldChg>
      <pc:sldChg chg="del">
        <pc:chgData name="Thomas Stensitzki" userId="75cafe6b-2f2a-469b-85c4-eec3b9c972ba" providerId="ADAL" clId="{6585694B-F83B-4578-8CAA-5F1AF6E51586}" dt="2022-12-04T15:28:08.275" v="40" actId="47"/>
        <pc:sldMkLst>
          <pc:docMk/>
          <pc:sldMk cId="3201512428" sldId="620"/>
        </pc:sldMkLst>
      </pc:sldChg>
      <pc:sldChg chg="del">
        <pc:chgData name="Thomas Stensitzki" userId="75cafe6b-2f2a-469b-85c4-eec3b9c972ba" providerId="ADAL" clId="{6585694B-F83B-4578-8CAA-5F1AF6E51586}" dt="2022-12-04T15:28:08.275" v="40" actId="47"/>
        <pc:sldMkLst>
          <pc:docMk/>
          <pc:sldMk cId="495201301" sldId="621"/>
        </pc:sldMkLst>
      </pc:sldChg>
      <pc:sldChg chg="del">
        <pc:chgData name="Thomas Stensitzki" userId="75cafe6b-2f2a-469b-85c4-eec3b9c972ba" providerId="ADAL" clId="{6585694B-F83B-4578-8CAA-5F1AF6E51586}" dt="2022-12-04T15:28:36.906" v="45" actId="47"/>
        <pc:sldMkLst>
          <pc:docMk/>
          <pc:sldMk cId="1216098891" sldId="622"/>
        </pc:sldMkLst>
      </pc:sldChg>
      <pc:sldChg chg="del">
        <pc:chgData name="Thomas Stensitzki" userId="75cafe6b-2f2a-469b-85c4-eec3b9c972ba" providerId="ADAL" clId="{6585694B-F83B-4578-8CAA-5F1AF6E51586}" dt="2022-12-04T15:28:36.906" v="45" actId="47"/>
        <pc:sldMkLst>
          <pc:docMk/>
          <pc:sldMk cId="1625578544" sldId="623"/>
        </pc:sldMkLst>
      </pc:sldChg>
      <pc:sldChg chg="del">
        <pc:chgData name="Thomas Stensitzki" userId="75cafe6b-2f2a-469b-85c4-eec3b9c972ba" providerId="ADAL" clId="{6585694B-F83B-4578-8CAA-5F1AF6E51586}" dt="2022-12-04T15:28:36.906" v="45" actId="47"/>
        <pc:sldMkLst>
          <pc:docMk/>
          <pc:sldMk cId="3928386235" sldId="624"/>
        </pc:sldMkLst>
      </pc:sldChg>
      <pc:sldChg chg="del">
        <pc:chgData name="Thomas Stensitzki" userId="75cafe6b-2f2a-469b-85c4-eec3b9c972ba" providerId="ADAL" clId="{6585694B-F83B-4578-8CAA-5F1AF6E51586}" dt="2022-12-04T15:28:22.207" v="42" actId="47"/>
        <pc:sldMkLst>
          <pc:docMk/>
          <pc:sldMk cId="2431608557" sldId="625"/>
        </pc:sldMkLst>
      </pc:sldChg>
      <pc:sldChg chg="del">
        <pc:chgData name="Thomas Stensitzki" userId="75cafe6b-2f2a-469b-85c4-eec3b9c972ba" providerId="ADAL" clId="{6585694B-F83B-4578-8CAA-5F1AF6E51586}" dt="2022-12-04T15:28:36.906" v="45" actId="47"/>
        <pc:sldMkLst>
          <pc:docMk/>
          <pc:sldMk cId="1333001301" sldId="626"/>
        </pc:sldMkLst>
      </pc:sldChg>
      <pc:sldChg chg="del">
        <pc:chgData name="Thomas Stensitzki" userId="75cafe6b-2f2a-469b-85c4-eec3b9c972ba" providerId="ADAL" clId="{6585694B-F83B-4578-8CAA-5F1AF6E51586}" dt="2022-12-04T15:28:22.207" v="42" actId="47"/>
        <pc:sldMkLst>
          <pc:docMk/>
          <pc:sldMk cId="2864403089" sldId="627"/>
        </pc:sldMkLst>
      </pc:sldChg>
      <pc:sldChg chg="del">
        <pc:chgData name="Thomas Stensitzki" userId="75cafe6b-2f2a-469b-85c4-eec3b9c972ba" providerId="ADAL" clId="{6585694B-F83B-4578-8CAA-5F1AF6E51586}" dt="2022-12-04T15:28:41.975" v="46" actId="47"/>
        <pc:sldMkLst>
          <pc:docMk/>
          <pc:sldMk cId="2624383707" sldId="628"/>
        </pc:sldMkLst>
      </pc:sldChg>
      <pc:sldChg chg="del">
        <pc:chgData name="Thomas Stensitzki" userId="75cafe6b-2f2a-469b-85c4-eec3b9c972ba" providerId="ADAL" clId="{6585694B-F83B-4578-8CAA-5F1AF6E51586}" dt="2022-12-04T15:28:22.207" v="42" actId="47"/>
        <pc:sldMkLst>
          <pc:docMk/>
          <pc:sldMk cId="182847428" sldId="629"/>
        </pc:sldMkLst>
      </pc:sldChg>
      <pc:sldChg chg="del">
        <pc:chgData name="Thomas Stensitzki" userId="75cafe6b-2f2a-469b-85c4-eec3b9c972ba" providerId="ADAL" clId="{6585694B-F83B-4578-8CAA-5F1AF6E51586}" dt="2022-12-04T15:28:22.207" v="42" actId="47"/>
        <pc:sldMkLst>
          <pc:docMk/>
          <pc:sldMk cId="1125589417" sldId="630"/>
        </pc:sldMkLst>
      </pc:sldChg>
      <pc:sldChg chg="del">
        <pc:chgData name="Thomas Stensitzki" userId="75cafe6b-2f2a-469b-85c4-eec3b9c972ba" providerId="ADAL" clId="{6585694B-F83B-4578-8CAA-5F1AF6E51586}" dt="2022-12-04T15:28:22.207" v="42" actId="47"/>
        <pc:sldMkLst>
          <pc:docMk/>
          <pc:sldMk cId="1294991851" sldId="631"/>
        </pc:sldMkLst>
      </pc:sldChg>
      <pc:sldChg chg="del">
        <pc:chgData name="Thomas Stensitzki" userId="75cafe6b-2f2a-469b-85c4-eec3b9c972ba" providerId="ADAL" clId="{6585694B-F83B-4578-8CAA-5F1AF6E51586}" dt="2022-12-04T15:28:41.975" v="46" actId="47"/>
        <pc:sldMkLst>
          <pc:docMk/>
          <pc:sldMk cId="74767398" sldId="632"/>
        </pc:sldMkLst>
      </pc:sldChg>
      <pc:sldChg chg="del">
        <pc:chgData name="Thomas Stensitzki" userId="75cafe6b-2f2a-469b-85c4-eec3b9c972ba" providerId="ADAL" clId="{6585694B-F83B-4578-8CAA-5F1AF6E51586}" dt="2022-12-04T15:28:41.975" v="46" actId="47"/>
        <pc:sldMkLst>
          <pc:docMk/>
          <pc:sldMk cId="222009446" sldId="633"/>
        </pc:sldMkLst>
      </pc:sldChg>
      <pc:sldChg chg="del">
        <pc:chgData name="Thomas Stensitzki" userId="75cafe6b-2f2a-469b-85c4-eec3b9c972ba" providerId="ADAL" clId="{6585694B-F83B-4578-8CAA-5F1AF6E51586}" dt="2022-12-04T15:28:29.850" v="43" actId="47"/>
        <pc:sldMkLst>
          <pc:docMk/>
          <pc:sldMk cId="641717594" sldId="634"/>
        </pc:sldMkLst>
      </pc:sldChg>
      <pc:sldChg chg="del">
        <pc:chgData name="Thomas Stensitzki" userId="75cafe6b-2f2a-469b-85c4-eec3b9c972ba" providerId="ADAL" clId="{6585694B-F83B-4578-8CAA-5F1AF6E51586}" dt="2022-12-04T15:28:51.336" v="47" actId="47"/>
        <pc:sldMkLst>
          <pc:docMk/>
          <pc:sldMk cId="1631157761" sldId="635"/>
        </pc:sldMkLst>
      </pc:sldChg>
      <pc:sldChg chg="del">
        <pc:chgData name="Thomas Stensitzki" userId="75cafe6b-2f2a-469b-85c4-eec3b9c972ba" providerId="ADAL" clId="{6585694B-F83B-4578-8CAA-5F1AF6E51586}" dt="2022-12-04T15:28:51.336" v="47" actId="47"/>
        <pc:sldMkLst>
          <pc:docMk/>
          <pc:sldMk cId="2329644470" sldId="636"/>
        </pc:sldMkLst>
      </pc:sldChg>
      <pc:sldChg chg="del">
        <pc:chgData name="Thomas Stensitzki" userId="75cafe6b-2f2a-469b-85c4-eec3b9c972ba" providerId="ADAL" clId="{6585694B-F83B-4578-8CAA-5F1AF6E51586}" dt="2022-12-04T15:28:29.850" v="43" actId="47"/>
        <pc:sldMkLst>
          <pc:docMk/>
          <pc:sldMk cId="3684390708" sldId="637"/>
        </pc:sldMkLst>
      </pc:sldChg>
      <pc:sldChg chg="del">
        <pc:chgData name="Thomas Stensitzki" userId="75cafe6b-2f2a-469b-85c4-eec3b9c972ba" providerId="ADAL" clId="{6585694B-F83B-4578-8CAA-5F1AF6E51586}" dt="2022-12-04T15:28:29.850" v="43" actId="47"/>
        <pc:sldMkLst>
          <pc:docMk/>
          <pc:sldMk cId="3230378298" sldId="638"/>
        </pc:sldMkLst>
      </pc:sldChg>
      <pc:sldChg chg="del">
        <pc:chgData name="Thomas Stensitzki" userId="75cafe6b-2f2a-469b-85c4-eec3b9c972ba" providerId="ADAL" clId="{6585694B-F83B-4578-8CAA-5F1AF6E51586}" dt="2022-12-04T15:28:51.336" v="47" actId="47"/>
        <pc:sldMkLst>
          <pc:docMk/>
          <pc:sldMk cId="3465019233" sldId="639"/>
        </pc:sldMkLst>
      </pc:sldChg>
      <pc:sldChg chg="del">
        <pc:chgData name="Thomas Stensitzki" userId="75cafe6b-2f2a-469b-85c4-eec3b9c972ba" providerId="ADAL" clId="{6585694B-F83B-4578-8CAA-5F1AF6E51586}" dt="2022-12-04T15:28:51.336" v="47" actId="47"/>
        <pc:sldMkLst>
          <pc:docMk/>
          <pc:sldMk cId="3773795940" sldId="640"/>
        </pc:sldMkLst>
      </pc:sldChg>
      <pc:sldChg chg="del">
        <pc:chgData name="Thomas Stensitzki" userId="75cafe6b-2f2a-469b-85c4-eec3b9c972ba" providerId="ADAL" clId="{6585694B-F83B-4578-8CAA-5F1AF6E51586}" dt="2022-12-04T15:28:51.336" v="47" actId="47"/>
        <pc:sldMkLst>
          <pc:docMk/>
          <pc:sldMk cId="2087933606" sldId="641"/>
        </pc:sldMkLst>
      </pc:sldChg>
      <pc:sldChg chg="del">
        <pc:chgData name="Thomas Stensitzki" userId="75cafe6b-2f2a-469b-85c4-eec3b9c972ba" providerId="ADAL" clId="{6585694B-F83B-4578-8CAA-5F1AF6E51586}" dt="2022-12-04T15:28:29.850" v="43" actId="47"/>
        <pc:sldMkLst>
          <pc:docMk/>
          <pc:sldMk cId="1502932586" sldId="642"/>
        </pc:sldMkLst>
      </pc:sldChg>
      <pc:sldChg chg="del">
        <pc:chgData name="Thomas Stensitzki" userId="75cafe6b-2f2a-469b-85c4-eec3b9c972ba" providerId="ADAL" clId="{6585694B-F83B-4578-8CAA-5F1AF6E51586}" dt="2022-12-04T15:28:29.850" v="43" actId="47"/>
        <pc:sldMkLst>
          <pc:docMk/>
          <pc:sldMk cId="2913103850" sldId="643"/>
        </pc:sldMkLst>
      </pc:sldChg>
      <pc:sldChg chg="del">
        <pc:chgData name="Thomas Stensitzki" userId="75cafe6b-2f2a-469b-85c4-eec3b9c972ba" providerId="ADAL" clId="{6585694B-F83B-4578-8CAA-5F1AF6E51586}" dt="2022-12-04T15:28:29.850" v="43" actId="47"/>
        <pc:sldMkLst>
          <pc:docMk/>
          <pc:sldMk cId="942581030" sldId="644"/>
        </pc:sldMkLst>
      </pc:sldChg>
      <pc:sldChg chg="del">
        <pc:chgData name="Thomas Stensitzki" userId="75cafe6b-2f2a-469b-85c4-eec3b9c972ba" providerId="ADAL" clId="{6585694B-F83B-4578-8CAA-5F1AF6E51586}" dt="2022-12-04T15:28:33.471" v="44" actId="47"/>
        <pc:sldMkLst>
          <pc:docMk/>
          <pc:sldMk cId="2729172580" sldId="645"/>
        </pc:sldMkLst>
      </pc:sldChg>
      <pc:sldChg chg="del">
        <pc:chgData name="Thomas Stensitzki" userId="75cafe6b-2f2a-469b-85c4-eec3b9c972ba" providerId="ADAL" clId="{6585694B-F83B-4578-8CAA-5F1AF6E51586}" dt="2022-12-04T15:28:33.471" v="44" actId="47"/>
        <pc:sldMkLst>
          <pc:docMk/>
          <pc:sldMk cId="295227728" sldId="646"/>
        </pc:sldMkLst>
      </pc:sldChg>
      <pc:sldChg chg="del">
        <pc:chgData name="Thomas Stensitzki" userId="75cafe6b-2f2a-469b-85c4-eec3b9c972ba" providerId="ADAL" clId="{6585694B-F83B-4578-8CAA-5F1AF6E51586}" dt="2022-12-04T15:28:13.840" v="41" actId="47"/>
        <pc:sldMkLst>
          <pc:docMk/>
          <pc:sldMk cId="3764594880" sldId="647"/>
        </pc:sldMkLst>
      </pc:sldChg>
      <pc:sldChg chg="del">
        <pc:chgData name="Thomas Stensitzki" userId="75cafe6b-2f2a-469b-85c4-eec3b9c972ba" providerId="ADAL" clId="{6585694B-F83B-4578-8CAA-5F1AF6E51586}" dt="2022-12-04T15:28:22.207" v="42" actId="47"/>
        <pc:sldMkLst>
          <pc:docMk/>
          <pc:sldMk cId="1091040638" sldId="648"/>
        </pc:sldMkLst>
      </pc:sldChg>
      <pc:sldChg chg="del">
        <pc:chgData name="Thomas Stensitzki" userId="75cafe6b-2f2a-469b-85c4-eec3b9c972ba" providerId="ADAL" clId="{6585694B-F83B-4578-8CAA-5F1AF6E51586}" dt="2022-12-04T15:28:22.207" v="42" actId="47"/>
        <pc:sldMkLst>
          <pc:docMk/>
          <pc:sldMk cId="2369649432" sldId="649"/>
        </pc:sldMkLst>
      </pc:sldChg>
      <pc:sldChg chg="del">
        <pc:chgData name="Thomas Stensitzki" userId="75cafe6b-2f2a-469b-85c4-eec3b9c972ba" providerId="ADAL" clId="{6585694B-F83B-4578-8CAA-5F1AF6E51586}" dt="2022-12-04T15:28:22.207" v="42" actId="47"/>
        <pc:sldMkLst>
          <pc:docMk/>
          <pc:sldMk cId="4292684490" sldId="650"/>
        </pc:sldMkLst>
      </pc:sldChg>
      <pc:sldChg chg="del">
        <pc:chgData name="Thomas Stensitzki" userId="75cafe6b-2f2a-469b-85c4-eec3b9c972ba" providerId="ADAL" clId="{6585694B-F83B-4578-8CAA-5F1AF6E51586}" dt="2022-12-04T15:28:22.207" v="42" actId="47"/>
        <pc:sldMkLst>
          <pc:docMk/>
          <pc:sldMk cId="324892990" sldId="651"/>
        </pc:sldMkLst>
      </pc:sldChg>
      <pc:sldChg chg="del">
        <pc:chgData name="Thomas Stensitzki" userId="75cafe6b-2f2a-469b-85c4-eec3b9c972ba" providerId="ADAL" clId="{6585694B-F83B-4578-8CAA-5F1AF6E51586}" dt="2022-12-04T15:28:22.207" v="42" actId="47"/>
        <pc:sldMkLst>
          <pc:docMk/>
          <pc:sldMk cId="2700638492" sldId="652"/>
        </pc:sldMkLst>
      </pc:sldChg>
      <pc:sldChg chg="del">
        <pc:chgData name="Thomas Stensitzki" userId="75cafe6b-2f2a-469b-85c4-eec3b9c972ba" providerId="ADAL" clId="{6585694B-F83B-4578-8CAA-5F1AF6E51586}" dt="2022-12-04T15:28:29.850" v="43" actId="47"/>
        <pc:sldMkLst>
          <pc:docMk/>
          <pc:sldMk cId="1379297492" sldId="653"/>
        </pc:sldMkLst>
      </pc:sldChg>
      <pc:sldChg chg="del">
        <pc:chgData name="Thomas Stensitzki" userId="75cafe6b-2f2a-469b-85c4-eec3b9c972ba" providerId="ADAL" clId="{6585694B-F83B-4578-8CAA-5F1AF6E51586}" dt="2022-12-04T15:28:22.207" v="42" actId="47"/>
        <pc:sldMkLst>
          <pc:docMk/>
          <pc:sldMk cId="20870858" sldId="654"/>
        </pc:sldMkLst>
      </pc:sldChg>
      <pc:sldChg chg="del">
        <pc:chgData name="Thomas Stensitzki" userId="75cafe6b-2f2a-469b-85c4-eec3b9c972ba" providerId="ADAL" clId="{6585694B-F83B-4578-8CAA-5F1AF6E51586}" dt="2022-12-04T15:28:29.850" v="43" actId="47"/>
        <pc:sldMkLst>
          <pc:docMk/>
          <pc:sldMk cId="4081057211" sldId="655"/>
        </pc:sldMkLst>
      </pc:sldChg>
      <pc:sldChg chg="del">
        <pc:chgData name="Thomas Stensitzki" userId="75cafe6b-2f2a-469b-85c4-eec3b9c972ba" providerId="ADAL" clId="{6585694B-F83B-4578-8CAA-5F1AF6E51586}" dt="2022-12-04T15:28:29.850" v="43" actId="47"/>
        <pc:sldMkLst>
          <pc:docMk/>
          <pc:sldMk cId="2870420379" sldId="656"/>
        </pc:sldMkLst>
      </pc:sldChg>
      <pc:sldChg chg="del">
        <pc:chgData name="Thomas Stensitzki" userId="75cafe6b-2f2a-469b-85c4-eec3b9c972ba" providerId="ADAL" clId="{6585694B-F83B-4578-8CAA-5F1AF6E51586}" dt="2022-12-04T15:28:29.850" v="43" actId="47"/>
        <pc:sldMkLst>
          <pc:docMk/>
          <pc:sldMk cId="1841510030" sldId="657"/>
        </pc:sldMkLst>
      </pc:sldChg>
      <pc:sldChg chg="del">
        <pc:chgData name="Thomas Stensitzki" userId="75cafe6b-2f2a-469b-85c4-eec3b9c972ba" providerId="ADAL" clId="{6585694B-F83B-4578-8CAA-5F1AF6E51586}" dt="2022-12-04T15:28:33.471" v="44" actId="47"/>
        <pc:sldMkLst>
          <pc:docMk/>
          <pc:sldMk cId="3337092959" sldId="658"/>
        </pc:sldMkLst>
      </pc:sldChg>
      <pc:sldChg chg="del">
        <pc:chgData name="Thomas Stensitzki" userId="75cafe6b-2f2a-469b-85c4-eec3b9c972ba" providerId="ADAL" clId="{6585694B-F83B-4578-8CAA-5F1AF6E51586}" dt="2022-12-08T14:14:37.960" v="90" actId="18676"/>
        <pc:sldMkLst>
          <pc:docMk/>
          <pc:sldMk cId="1962477249" sldId="659"/>
        </pc:sldMkLst>
      </pc:sldChg>
      <pc:sldChg chg="del">
        <pc:chgData name="Thomas Stensitzki" userId="75cafe6b-2f2a-469b-85c4-eec3b9c972ba" providerId="ADAL" clId="{6585694B-F83B-4578-8CAA-5F1AF6E51586}" dt="2022-12-04T15:28:36.906" v="45" actId="47"/>
        <pc:sldMkLst>
          <pc:docMk/>
          <pc:sldMk cId="1061161082" sldId="660"/>
        </pc:sldMkLst>
      </pc:sldChg>
      <pc:sldChg chg="del">
        <pc:chgData name="Thomas Stensitzki" userId="75cafe6b-2f2a-469b-85c4-eec3b9c972ba" providerId="ADAL" clId="{6585694B-F83B-4578-8CAA-5F1AF6E51586}" dt="2022-12-04T15:28:41.975" v="46" actId="47"/>
        <pc:sldMkLst>
          <pc:docMk/>
          <pc:sldMk cId="2497496185" sldId="661"/>
        </pc:sldMkLst>
      </pc:sldChg>
      <pc:sldChg chg="del">
        <pc:chgData name="Thomas Stensitzki" userId="75cafe6b-2f2a-469b-85c4-eec3b9c972ba" providerId="ADAL" clId="{6585694B-F83B-4578-8CAA-5F1AF6E51586}" dt="2022-12-04T15:28:41.975" v="46" actId="47"/>
        <pc:sldMkLst>
          <pc:docMk/>
          <pc:sldMk cId="301037216" sldId="662"/>
        </pc:sldMkLst>
      </pc:sldChg>
      <pc:sldChg chg="del">
        <pc:chgData name="Thomas Stensitzki" userId="75cafe6b-2f2a-469b-85c4-eec3b9c972ba" providerId="ADAL" clId="{6585694B-F83B-4578-8CAA-5F1AF6E51586}" dt="2022-12-04T15:28:41.975" v="46" actId="47"/>
        <pc:sldMkLst>
          <pc:docMk/>
          <pc:sldMk cId="815879234" sldId="663"/>
        </pc:sldMkLst>
      </pc:sldChg>
      <pc:sldChg chg="del">
        <pc:chgData name="Thomas Stensitzki" userId="75cafe6b-2f2a-469b-85c4-eec3b9c972ba" providerId="ADAL" clId="{6585694B-F83B-4578-8CAA-5F1AF6E51586}" dt="2022-12-04T15:28:41.975" v="46" actId="47"/>
        <pc:sldMkLst>
          <pc:docMk/>
          <pc:sldMk cId="3506364790" sldId="664"/>
        </pc:sldMkLst>
      </pc:sldChg>
    </pc:docChg>
  </pc:docChgLst>
  <pc:docChgLst>
    <pc:chgData name="Thomas Stensitzki" userId="75cafe6b-2f2a-469b-85c4-eec3b9c972ba" providerId="ADAL" clId="{84A5A1CF-D4D8-4DEE-82E8-21007BEBD9EB}"/>
    <pc:docChg chg="undo custSel addSld delSld modSld sldOrd modSection">
      <pc:chgData name="Thomas Stensitzki" userId="75cafe6b-2f2a-469b-85c4-eec3b9c972ba" providerId="ADAL" clId="{84A5A1CF-D4D8-4DEE-82E8-21007BEBD9EB}" dt="2021-12-02T16:26:37.639" v="2824" actId="20577"/>
      <pc:docMkLst>
        <pc:docMk/>
      </pc:docMkLst>
      <pc:sldChg chg="modSp mod modTransition">
        <pc:chgData name="Thomas Stensitzki" userId="75cafe6b-2f2a-469b-85c4-eec3b9c972ba" providerId="ADAL" clId="{84A5A1CF-D4D8-4DEE-82E8-21007BEBD9EB}" dt="2021-11-27T14:22:00.443" v="2304"/>
        <pc:sldMkLst>
          <pc:docMk/>
          <pc:sldMk cId="671489701" sldId="256"/>
        </pc:sldMkLst>
        <pc:spChg chg="mod">
          <ac:chgData name="Thomas Stensitzki" userId="75cafe6b-2f2a-469b-85c4-eec3b9c972ba" providerId="ADAL" clId="{84A5A1CF-D4D8-4DEE-82E8-21007BEBD9EB}" dt="2021-11-27T11:48:08.697" v="30" actId="6549"/>
          <ac:spMkLst>
            <pc:docMk/>
            <pc:sldMk cId="671489701" sldId="256"/>
            <ac:spMk id="3" creationId="{CBA95633-B02D-4A15-A8B1-A38E0A70FD27}"/>
          </ac:spMkLst>
        </pc:spChg>
      </pc:sldChg>
      <pc:sldChg chg="modSp mod modTransition">
        <pc:chgData name="Thomas Stensitzki" userId="75cafe6b-2f2a-469b-85c4-eec3b9c972ba" providerId="ADAL" clId="{84A5A1CF-D4D8-4DEE-82E8-21007BEBD9EB}" dt="2021-11-27T14:22:00.443" v="2304"/>
        <pc:sldMkLst>
          <pc:docMk/>
          <pc:sldMk cId="2855324227" sldId="257"/>
        </pc:sldMkLst>
        <pc:spChg chg="mod">
          <ac:chgData name="Thomas Stensitzki" userId="75cafe6b-2f2a-469b-85c4-eec3b9c972ba" providerId="ADAL" clId="{84A5A1CF-D4D8-4DEE-82E8-21007BEBD9EB}" dt="2021-11-27T11:51:06.044" v="94" actId="114"/>
          <ac:spMkLst>
            <pc:docMk/>
            <pc:sldMk cId="2855324227" sldId="257"/>
            <ac:spMk id="5" creationId="{EE6719E1-4DB6-4D58-BA77-937CF975247C}"/>
          </ac:spMkLst>
        </pc:spChg>
        <pc:graphicFrameChg chg="mod modGraphic">
          <ac:chgData name="Thomas Stensitzki" userId="75cafe6b-2f2a-469b-85c4-eec3b9c972ba" providerId="ADAL" clId="{84A5A1CF-D4D8-4DEE-82E8-21007BEBD9EB}" dt="2021-11-27T11:51:48.069" v="97" actId="14734"/>
          <ac:graphicFrameMkLst>
            <pc:docMk/>
            <pc:sldMk cId="2855324227" sldId="257"/>
            <ac:graphicFrameMk id="6" creationId="{0F955DCC-462D-431D-BBDE-26F10687D590}"/>
          </ac:graphicFrameMkLst>
        </pc:graphicFrameChg>
      </pc:sldChg>
      <pc:sldChg chg="modSp mod modTransition">
        <pc:chgData name="Thomas Stensitzki" userId="75cafe6b-2f2a-469b-85c4-eec3b9c972ba" providerId="ADAL" clId="{84A5A1CF-D4D8-4DEE-82E8-21007BEBD9EB}" dt="2021-11-27T14:22:00.443" v="2304"/>
        <pc:sldMkLst>
          <pc:docMk/>
          <pc:sldMk cId="3332792154" sldId="258"/>
        </pc:sldMkLst>
        <pc:spChg chg="mod">
          <ac:chgData name="Thomas Stensitzki" userId="75cafe6b-2f2a-469b-85c4-eec3b9c972ba" providerId="ADAL" clId="{84A5A1CF-D4D8-4DEE-82E8-21007BEBD9EB}" dt="2021-11-27T11:59:40.198" v="203" actId="6549"/>
          <ac:spMkLst>
            <pc:docMk/>
            <pc:sldMk cId="3332792154" sldId="258"/>
            <ac:spMk id="3" creationId="{3A5A44EB-7FB9-473A-8ED3-C49DDD2E65AB}"/>
          </ac:spMkLst>
        </pc:spChg>
      </pc:sldChg>
      <pc:sldChg chg="modTransition">
        <pc:chgData name="Thomas Stensitzki" userId="75cafe6b-2f2a-469b-85c4-eec3b9c972ba" providerId="ADAL" clId="{84A5A1CF-D4D8-4DEE-82E8-21007BEBD9EB}" dt="2021-11-27T14:22:00.443" v="2304"/>
        <pc:sldMkLst>
          <pc:docMk/>
          <pc:sldMk cId="1545829058" sldId="259"/>
        </pc:sldMkLst>
      </pc:sldChg>
      <pc:sldChg chg="modSp mod modTransition">
        <pc:chgData name="Thomas Stensitzki" userId="75cafe6b-2f2a-469b-85c4-eec3b9c972ba" providerId="ADAL" clId="{84A5A1CF-D4D8-4DEE-82E8-21007BEBD9EB}" dt="2021-11-27T14:22:00.443" v="2304"/>
        <pc:sldMkLst>
          <pc:docMk/>
          <pc:sldMk cId="2698998357" sldId="260"/>
        </pc:sldMkLst>
        <pc:spChg chg="mod">
          <ac:chgData name="Thomas Stensitzki" userId="75cafe6b-2f2a-469b-85c4-eec3b9c972ba" providerId="ADAL" clId="{84A5A1CF-D4D8-4DEE-82E8-21007BEBD9EB}" dt="2021-11-27T11:50:40.722" v="86"/>
          <ac:spMkLst>
            <pc:docMk/>
            <pc:sldMk cId="2698998357" sldId="260"/>
            <ac:spMk id="4" creationId="{F3A15CBD-C746-44A3-A4F0-4898CE2F02E6}"/>
          </ac:spMkLst>
        </pc:spChg>
        <pc:spChg chg="mod">
          <ac:chgData name="Thomas Stensitzki" userId="75cafe6b-2f2a-469b-85c4-eec3b9c972ba" providerId="ADAL" clId="{84A5A1CF-D4D8-4DEE-82E8-21007BEBD9EB}" dt="2021-11-27T11:50:58.944" v="93" actId="20577"/>
          <ac:spMkLst>
            <pc:docMk/>
            <pc:sldMk cId="2698998357" sldId="260"/>
            <ac:spMk id="5" creationId="{F3459BE7-1731-4733-A912-12977C68CFD6}"/>
          </ac:spMkLst>
        </pc:spChg>
      </pc:sldChg>
      <pc:sldChg chg="modSp mod modTransition">
        <pc:chgData name="Thomas Stensitzki" userId="75cafe6b-2f2a-469b-85c4-eec3b9c972ba" providerId="ADAL" clId="{84A5A1CF-D4D8-4DEE-82E8-21007BEBD9EB}" dt="2021-11-27T14:22:00.443" v="2304"/>
        <pc:sldMkLst>
          <pc:docMk/>
          <pc:sldMk cId="4007670073" sldId="268"/>
        </pc:sldMkLst>
        <pc:spChg chg="mod">
          <ac:chgData name="Thomas Stensitzki" userId="75cafe6b-2f2a-469b-85c4-eec3b9c972ba" providerId="ADAL" clId="{84A5A1CF-D4D8-4DEE-82E8-21007BEBD9EB}" dt="2021-11-27T14:16:15.267" v="1968" actId="6549"/>
          <ac:spMkLst>
            <pc:docMk/>
            <pc:sldMk cId="4007670073" sldId="268"/>
            <ac:spMk id="5" creationId="{F3459BE7-1731-4733-A912-12977C68CFD6}"/>
          </ac:spMkLst>
        </pc:spChg>
      </pc:sldChg>
      <pc:sldChg chg="modSp mod modTransition">
        <pc:chgData name="Thomas Stensitzki" userId="75cafe6b-2f2a-469b-85c4-eec3b9c972ba" providerId="ADAL" clId="{84A5A1CF-D4D8-4DEE-82E8-21007BEBD9EB}" dt="2021-11-27T14:27:08.337" v="2662" actId="20577"/>
        <pc:sldMkLst>
          <pc:docMk/>
          <pc:sldMk cId="2721051844" sldId="269"/>
        </pc:sldMkLst>
        <pc:spChg chg="mod">
          <ac:chgData name="Thomas Stensitzki" userId="75cafe6b-2f2a-469b-85c4-eec3b9c972ba" providerId="ADAL" clId="{84A5A1CF-D4D8-4DEE-82E8-21007BEBD9EB}" dt="2021-11-27T14:27:08.337" v="2662" actId="20577"/>
          <ac:spMkLst>
            <pc:docMk/>
            <pc:sldMk cId="2721051844" sldId="269"/>
            <ac:spMk id="5" creationId="{C24DACB5-1BEC-4C86-9652-BAFD8DE56FEF}"/>
          </ac:spMkLst>
        </pc:spChg>
      </pc:sldChg>
      <pc:sldChg chg="modTransition">
        <pc:chgData name="Thomas Stensitzki" userId="75cafe6b-2f2a-469b-85c4-eec3b9c972ba" providerId="ADAL" clId="{84A5A1CF-D4D8-4DEE-82E8-21007BEBD9EB}" dt="2021-11-27T14:22:00.443" v="2304"/>
        <pc:sldMkLst>
          <pc:docMk/>
          <pc:sldMk cId="1928334901" sldId="295"/>
        </pc:sldMkLst>
      </pc:sldChg>
      <pc:sldChg chg="modTransition">
        <pc:chgData name="Thomas Stensitzki" userId="75cafe6b-2f2a-469b-85c4-eec3b9c972ba" providerId="ADAL" clId="{84A5A1CF-D4D8-4DEE-82E8-21007BEBD9EB}" dt="2021-11-27T14:22:00.443" v="2304"/>
        <pc:sldMkLst>
          <pc:docMk/>
          <pc:sldMk cId="466045460" sldId="296"/>
        </pc:sldMkLst>
      </pc:sldChg>
      <pc:sldChg chg="modSp mod modTransition">
        <pc:chgData name="Thomas Stensitzki" userId="75cafe6b-2f2a-469b-85c4-eec3b9c972ba" providerId="ADAL" clId="{84A5A1CF-D4D8-4DEE-82E8-21007BEBD9EB}" dt="2021-11-27T14:22:00.443" v="2304"/>
        <pc:sldMkLst>
          <pc:docMk/>
          <pc:sldMk cId="53967156" sldId="297"/>
        </pc:sldMkLst>
        <pc:spChg chg="mod">
          <ac:chgData name="Thomas Stensitzki" userId="75cafe6b-2f2a-469b-85c4-eec3b9c972ba" providerId="ADAL" clId="{84A5A1CF-D4D8-4DEE-82E8-21007BEBD9EB}" dt="2021-11-27T11:51:42.764" v="95"/>
          <ac:spMkLst>
            <pc:docMk/>
            <pc:sldMk cId="53967156" sldId="297"/>
            <ac:spMk id="4" creationId="{F3A15CBD-C746-44A3-A4F0-4898CE2F02E6}"/>
          </ac:spMkLst>
        </pc:spChg>
        <pc:spChg chg="mod">
          <ac:chgData name="Thomas Stensitzki" userId="75cafe6b-2f2a-469b-85c4-eec3b9c972ba" providerId="ADAL" clId="{84A5A1CF-D4D8-4DEE-82E8-21007BEBD9EB}" dt="2021-11-27T11:52:00.060" v="101" actId="6549"/>
          <ac:spMkLst>
            <pc:docMk/>
            <pc:sldMk cId="53967156" sldId="297"/>
            <ac:spMk id="5" creationId="{F3459BE7-1731-4733-A912-12977C68CFD6}"/>
          </ac:spMkLst>
        </pc:spChg>
      </pc:sldChg>
      <pc:sldChg chg="modTransition">
        <pc:chgData name="Thomas Stensitzki" userId="75cafe6b-2f2a-469b-85c4-eec3b9c972ba" providerId="ADAL" clId="{84A5A1CF-D4D8-4DEE-82E8-21007BEBD9EB}" dt="2021-11-27T14:22:00.443" v="2304"/>
        <pc:sldMkLst>
          <pc:docMk/>
          <pc:sldMk cId="2814967912" sldId="311"/>
        </pc:sldMkLst>
      </pc:sldChg>
      <pc:sldChg chg="modTransition">
        <pc:chgData name="Thomas Stensitzki" userId="75cafe6b-2f2a-469b-85c4-eec3b9c972ba" providerId="ADAL" clId="{84A5A1CF-D4D8-4DEE-82E8-21007BEBD9EB}" dt="2021-11-27T14:22:00.443" v="2304"/>
        <pc:sldMkLst>
          <pc:docMk/>
          <pc:sldMk cId="726195275" sldId="313"/>
        </pc:sldMkLst>
      </pc:sldChg>
      <pc:sldChg chg="modSp mod modTransition">
        <pc:chgData name="Thomas Stensitzki" userId="75cafe6b-2f2a-469b-85c4-eec3b9c972ba" providerId="ADAL" clId="{84A5A1CF-D4D8-4DEE-82E8-21007BEBD9EB}" dt="2021-11-27T14:22:00.443" v="2304"/>
        <pc:sldMkLst>
          <pc:docMk/>
          <pc:sldMk cId="2227487991" sldId="378"/>
        </pc:sldMkLst>
        <pc:spChg chg="mod">
          <ac:chgData name="Thomas Stensitzki" userId="75cafe6b-2f2a-469b-85c4-eec3b9c972ba" providerId="ADAL" clId="{84A5A1CF-D4D8-4DEE-82E8-21007BEBD9EB}" dt="2021-11-27T14:16:24.438" v="1970" actId="14100"/>
          <ac:spMkLst>
            <pc:docMk/>
            <pc:sldMk cId="2227487991" sldId="378"/>
            <ac:spMk id="2" creationId="{909DC09D-B9A6-4493-9A72-1CA7ECB1F5CA}"/>
          </ac:spMkLst>
        </pc:spChg>
        <pc:spChg chg="mod">
          <ac:chgData name="Thomas Stensitzki" userId="75cafe6b-2f2a-469b-85c4-eec3b9c972ba" providerId="ADAL" clId="{84A5A1CF-D4D8-4DEE-82E8-21007BEBD9EB}" dt="2021-11-27T13:11:10.116" v="730"/>
          <ac:spMkLst>
            <pc:docMk/>
            <pc:sldMk cId="2227487991" sldId="378"/>
            <ac:spMk id="5" creationId="{C24DACB5-1BEC-4C86-9652-BAFD8DE56FEF}"/>
          </ac:spMkLst>
        </pc:spChg>
      </pc:sldChg>
      <pc:sldChg chg="mod modTransition modShow">
        <pc:chgData name="Thomas Stensitzki" userId="75cafe6b-2f2a-469b-85c4-eec3b9c972ba" providerId="ADAL" clId="{84A5A1CF-D4D8-4DEE-82E8-21007BEBD9EB}" dt="2021-11-27T14:28:37.836" v="2663" actId="729"/>
        <pc:sldMkLst>
          <pc:docMk/>
          <pc:sldMk cId="2923837414" sldId="513"/>
        </pc:sldMkLst>
      </pc:sldChg>
      <pc:sldChg chg="mod modTransition modShow">
        <pc:chgData name="Thomas Stensitzki" userId="75cafe6b-2f2a-469b-85c4-eec3b9c972ba" providerId="ADAL" clId="{84A5A1CF-D4D8-4DEE-82E8-21007BEBD9EB}" dt="2021-11-27T14:22:00.443" v="2304"/>
        <pc:sldMkLst>
          <pc:docMk/>
          <pc:sldMk cId="2395924320" sldId="514"/>
        </pc:sldMkLst>
      </pc:sldChg>
      <pc:sldChg chg="modSp mod modTransition">
        <pc:chgData name="Thomas Stensitzki" userId="75cafe6b-2f2a-469b-85c4-eec3b9c972ba" providerId="ADAL" clId="{84A5A1CF-D4D8-4DEE-82E8-21007BEBD9EB}" dt="2021-11-27T14:22:40.765" v="2313" actId="1035"/>
        <pc:sldMkLst>
          <pc:docMk/>
          <pc:sldMk cId="3797754622" sldId="515"/>
        </pc:sldMkLst>
        <pc:spChg chg="mod">
          <ac:chgData name="Thomas Stensitzki" userId="75cafe6b-2f2a-469b-85c4-eec3b9c972ba" providerId="ADAL" clId="{84A5A1CF-D4D8-4DEE-82E8-21007BEBD9EB}" dt="2021-11-27T14:22:40.765" v="2313" actId="1035"/>
          <ac:spMkLst>
            <pc:docMk/>
            <pc:sldMk cId="3797754622" sldId="515"/>
            <ac:spMk id="2" creationId="{909DC09D-B9A6-4493-9A72-1CA7ECB1F5CA}"/>
          </ac:spMkLst>
        </pc:spChg>
        <pc:spChg chg="mod">
          <ac:chgData name="Thomas Stensitzki" userId="75cafe6b-2f2a-469b-85c4-eec3b9c972ba" providerId="ADAL" clId="{84A5A1CF-D4D8-4DEE-82E8-21007BEBD9EB}" dt="2021-11-27T14:15:36.629" v="1961" actId="255"/>
          <ac:spMkLst>
            <pc:docMk/>
            <pc:sldMk cId="3797754622" sldId="515"/>
            <ac:spMk id="5" creationId="{C24DACB5-1BEC-4C86-9652-BAFD8DE56FEF}"/>
          </ac:spMkLst>
        </pc:spChg>
      </pc:sldChg>
      <pc:sldChg chg="del">
        <pc:chgData name="Thomas Stensitzki" userId="75cafe6b-2f2a-469b-85c4-eec3b9c972ba" providerId="ADAL" clId="{84A5A1CF-D4D8-4DEE-82E8-21007BEBD9EB}" dt="2021-11-27T12:00:14.428" v="205" actId="47"/>
        <pc:sldMkLst>
          <pc:docMk/>
          <pc:sldMk cId="2712056554" sldId="516"/>
        </pc:sldMkLst>
      </pc:sldChg>
      <pc:sldChg chg="del">
        <pc:chgData name="Thomas Stensitzki" userId="75cafe6b-2f2a-469b-85c4-eec3b9c972ba" providerId="ADAL" clId="{84A5A1CF-D4D8-4DEE-82E8-21007BEBD9EB}" dt="2021-11-27T12:00:14.428" v="205" actId="47"/>
        <pc:sldMkLst>
          <pc:docMk/>
          <pc:sldMk cId="2592263701" sldId="517"/>
        </pc:sldMkLst>
      </pc:sldChg>
      <pc:sldChg chg="del">
        <pc:chgData name="Thomas Stensitzki" userId="75cafe6b-2f2a-469b-85c4-eec3b9c972ba" providerId="ADAL" clId="{84A5A1CF-D4D8-4DEE-82E8-21007BEBD9EB}" dt="2021-11-27T12:00:14.428" v="205" actId="47"/>
        <pc:sldMkLst>
          <pc:docMk/>
          <pc:sldMk cId="2691419104" sldId="518"/>
        </pc:sldMkLst>
      </pc:sldChg>
      <pc:sldChg chg="del">
        <pc:chgData name="Thomas Stensitzki" userId="75cafe6b-2f2a-469b-85c4-eec3b9c972ba" providerId="ADAL" clId="{84A5A1CF-D4D8-4DEE-82E8-21007BEBD9EB}" dt="2021-11-27T12:00:28.725" v="206" actId="47"/>
        <pc:sldMkLst>
          <pc:docMk/>
          <pc:sldMk cId="2239521866" sldId="519"/>
        </pc:sldMkLst>
      </pc:sldChg>
      <pc:sldChg chg="del">
        <pc:chgData name="Thomas Stensitzki" userId="75cafe6b-2f2a-469b-85c4-eec3b9c972ba" providerId="ADAL" clId="{84A5A1CF-D4D8-4DEE-82E8-21007BEBD9EB}" dt="2021-11-27T12:00:28.725" v="206" actId="47"/>
        <pc:sldMkLst>
          <pc:docMk/>
          <pc:sldMk cId="2023308020" sldId="520"/>
        </pc:sldMkLst>
      </pc:sldChg>
      <pc:sldChg chg="del">
        <pc:chgData name="Thomas Stensitzki" userId="75cafe6b-2f2a-469b-85c4-eec3b9c972ba" providerId="ADAL" clId="{84A5A1CF-D4D8-4DEE-82E8-21007BEBD9EB}" dt="2021-11-27T12:00:28.725" v="206" actId="47"/>
        <pc:sldMkLst>
          <pc:docMk/>
          <pc:sldMk cId="3342197954" sldId="521"/>
        </pc:sldMkLst>
      </pc:sldChg>
      <pc:sldChg chg="del">
        <pc:chgData name="Thomas Stensitzki" userId="75cafe6b-2f2a-469b-85c4-eec3b9c972ba" providerId="ADAL" clId="{84A5A1CF-D4D8-4DEE-82E8-21007BEBD9EB}" dt="2021-11-27T12:00:28.725" v="206" actId="47"/>
        <pc:sldMkLst>
          <pc:docMk/>
          <pc:sldMk cId="2697887611" sldId="523"/>
        </pc:sldMkLst>
      </pc:sldChg>
      <pc:sldChg chg="del">
        <pc:chgData name="Thomas Stensitzki" userId="75cafe6b-2f2a-469b-85c4-eec3b9c972ba" providerId="ADAL" clId="{84A5A1CF-D4D8-4DEE-82E8-21007BEBD9EB}" dt="2021-11-27T12:00:28.725" v="206" actId="47"/>
        <pc:sldMkLst>
          <pc:docMk/>
          <pc:sldMk cId="3151864037" sldId="524"/>
        </pc:sldMkLst>
      </pc:sldChg>
      <pc:sldChg chg="del">
        <pc:chgData name="Thomas Stensitzki" userId="75cafe6b-2f2a-469b-85c4-eec3b9c972ba" providerId="ADAL" clId="{84A5A1CF-D4D8-4DEE-82E8-21007BEBD9EB}" dt="2021-11-27T12:00:28.725" v="206" actId="47"/>
        <pc:sldMkLst>
          <pc:docMk/>
          <pc:sldMk cId="1710541557" sldId="525"/>
        </pc:sldMkLst>
      </pc:sldChg>
      <pc:sldChg chg="del">
        <pc:chgData name="Thomas Stensitzki" userId="75cafe6b-2f2a-469b-85c4-eec3b9c972ba" providerId="ADAL" clId="{84A5A1CF-D4D8-4DEE-82E8-21007BEBD9EB}" dt="2021-11-27T12:00:28.725" v="206" actId="47"/>
        <pc:sldMkLst>
          <pc:docMk/>
          <pc:sldMk cId="2296744449" sldId="526"/>
        </pc:sldMkLst>
      </pc:sldChg>
      <pc:sldChg chg="del">
        <pc:chgData name="Thomas Stensitzki" userId="75cafe6b-2f2a-469b-85c4-eec3b9c972ba" providerId="ADAL" clId="{84A5A1CF-D4D8-4DEE-82E8-21007BEBD9EB}" dt="2021-11-27T12:00:28.725" v="206" actId="47"/>
        <pc:sldMkLst>
          <pc:docMk/>
          <pc:sldMk cId="1119798974" sldId="527"/>
        </pc:sldMkLst>
      </pc:sldChg>
      <pc:sldChg chg="del">
        <pc:chgData name="Thomas Stensitzki" userId="75cafe6b-2f2a-469b-85c4-eec3b9c972ba" providerId="ADAL" clId="{84A5A1CF-D4D8-4DEE-82E8-21007BEBD9EB}" dt="2021-11-27T12:00:28.725" v="206" actId="47"/>
        <pc:sldMkLst>
          <pc:docMk/>
          <pc:sldMk cId="2356668622" sldId="528"/>
        </pc:sldMkLst>
      </pc:sldChg>
      <pc:sldChg chg="del">
        <pc:chgData name="Thomas Stensitzki" userId="75cafe6b-2f2a-469b-85c4-eec3b9c972ba" providerId="ADAL" clId="{84A5A1CF-D4D8-4DEE-82E8-21007BEBD9EB}" dt="2021-11-27T12:00:28.725" v="206" actId="47"/>
        <pc:sldMkLst>
          <pc:docMk/>
          <pc:sldMk cId="3227298801" sldId="529"/>
        </pc:sldMkLst>
      </pc:sldChg>
      <pc:sldChg chg="del">
        <pc:chgData name="Thomas Stensitzki" userId="75cafe6b-2f2a-469b-85c4-eec3b9c972ba" providerId="ADAL" clId="{84A5A1CF-D4D8-4DEE-82E8-21007BEBD9EB}" dt="2021-11-27T12:00:14.428" v="205" actId="47"/>
        <pc:sldMkLst>
          <pc:docMk/>
          <pc:sldMk cId="4001838037" sldId="530"/>
        </pc:sldMkLst>
      </pc:sldChg>
      <pc:sldChg chg="del">
        <pc:chgData name="Thomas Stensitzki" userId="75cafe6b-2f2a-469b-85c4-eec3b9c972ba" providerId="ADAL" clId="{84A5A1CF-D4D8-4DEE-82E8-21007BEBD9EB}" dt="2021-11-27T12:00:14.428" v="205" actId="47"/>
        <pc:sldMkLst>
          <pc:docMk/>
          <pc:sldMk cId="459788482" sldId="531"/>
        </pc:sldMkLst>
      </pc:sldChg>
      <pc:sldChg chg="del">
        <pc:chgData name="Thomas Stensitzki" userId="75cafe6b-2f2a-469b-85c4-eec3b9c972ba" providerId="ADAL" clId="{84A5A1CF-D4D8-4DEE-82E8-21007BEBD9EB}" dt="2021-11-27T12:00:28.725" v="206" actId="47"/>
        <pc:sldMkLst>
          <pc:docMk/>
          <pc:sldMk cId="1002663695" sldId="532"/>
        </pc:sldMkLst>
      </pc:sldChg>
      <pc:sldChg chg="del">
        <pc:chgData name="Thomas Stensitzki" userId="75cafe6b-2f2a-469b-85c4-eec3b9c972ba" providerId="ADAL" clId="{84A5A1CF-D4D8-4DEE-82E8-21007BEBD9EB}" dt="2021-11-27T12:00:14.428" v="205" actId="47"/>
        <pc:sldMkLst>
          <pc:docMk/>
          <pc:sldMk cId="3719475429" sldId="533"/>
        </pc:sldMkLst>
      </pc:sldChg>
      <pc:sldChg chg="del">
        <pc:chgData name="Thomas Stensitzki" userId="75cafe6b-2f2a-469b-85c4-eec3b9c972ba" providerId="ADAL" clId="{84A5A1CF-D4D8-4DEE-82E8-21007BEBD9EB}" dt="2021-11-27T12:00:14.428" v="205" actId="47"/>
        <pc:sldMkLst>
          <pc:docMk/>
          <pc:sldMk cId="3555038738" sldId="534"/>
        </pc:sldMkLst>
      </pc:sldChg>
      <pc:sldChg chg="del">
        <pc:chgData name="Thomas Stensitzki" userId="75cafe6b-2f2a-469b-85c4-eec3b9c972ba" providerId="ADAL" clId="{84A5A1CF-D4D8-4DEE-82E8-21007BEBD9EB}" dt="2021-11-27T12:00:14.428" v="205" actId="47"/>
        <pc:sldMkLst>
          <pc:docMk/>
          <pc:sldMk cId="89213568" sldId="535"/>
        </pc:sldMkLst>
      </pc:sldChg>
      <pc:sldChg chg="del">
        <pc:chgData name="Thomas Stensitzki" userId="75cafe6b-2f2a-469b-85c4-eec3b9c972ba" providerId="ADAL" clId="{84A5A1CF-D4D8-4DEE-82E8-21007BEBD9EB}" dt="2021-11-27T12:00:28.725" v="206" actId="47"/>
        <pc:sldMkLst>
          <pc:docMk/>
          <pc:sldMk cId="3161842247" sldId="536"/>
        </pc:sldMkLst>
      </pc:sldChg>
      <pc:sldChg chg="del">
        <pc:chgData name="Thomas Stensitzki" userId="75cafe6b-2f2a-469b-85c4-eec3b9c972ba" providerId="ADAL" clId="{84A5A1CF-D4D8-4DEE-82E8-21007BEBD9EB}" dt="2021-11-27T12:00:28.725" v="206" actId="47"/>
        <pc:sldMkLst>
          <pc:docMk/>
          <pc:sldMk cId="273152899" sldId="537"/>
        </pc:sldMkLst>
      </pc:sldChg>
      <pc:sldChg chg="del">
        <pc:chgData name="Thomas Stensitzki" userId="75cafe6b-2f2a-469b-85c4-eec3b9c972ba" providerId="ADAL" clId="{84A5A1CF-D4D8-4DEE-82E8-21007BEBD9EB}" dt="2021-11-27T12:00:28.725" v="206" actId="47"/>
        <pc:sldMkLst>
          <pc:docMk/>
          <pc:sldMk cId="3101364963" sldId="538"/>
        </pc:sldMkLst>
      </pc:sldChg>
      <pc:sldChg chg="del">
        <pc:chgData name="Thomas Stensitzki" userId="75cafe6b-2f2a-469b-85c4-eec3b9c972ba" providerId="ADAL" clId="{84A5A1CF-D4D8-4DEE-82E8-21007BEBD9EB}" dt="2021-11-27T12:00:28.725" v="206" actId="47"/>
        <pc:sldMkLst>
          <pc:docMk/>
          <pc:sldMk cId="2457228316" sldId="539"/>
        </pc:sldMkLst>
      </pc:sldChg>
      <pc:sldChg chg="del">
        <pc:chgData name="Thomas Stensitzki" userId="75cafe6b-2f2a-469b-85c4-eec3b9c972ba" providerId="ADAL" clId="{84A5A1CF-D4D8-4DEE-82E8-21007BEBD9EB}" dt="2021-11-27T12:00:28.725" v="206" actId="47"/>
        <pc:sldMkLst>
          <pc:docMk/>
          <pc:sldMk cId="3084141999" sldId="540"/>
        </pc:sldMkLst>
      </pc:sldChg>
      <pc:sldChg chg="del">
        <pc:chgData name="Thomas Stensitzki" userId="75cafe6b-2f2a-469b-85c4-eec3b9c972ba" providerId="ADAL" clId="{84A5A1CF-D4D8-4DEE-82E8-21007BEBD9EB}" dt="2021-11-27T12:00:28.725" v="206" actId="47"/>
        <pc:sldMkLst>
          <pc:docMk/>
          <pc:sldMk cId="400379336" sldId="541"/>
        </pc:sldMkLst>
      </pc:sldChg>
      <pc:sldChg chg="del">
        <pc:chgData name="Thomas Stensitzki" userId="75cafe6b-2f2a-469b-85c4-eec3b9c972ba" providerId="ADAL" clId="{84A5A1CF-D4D8-4DEE-82E8-21007BEBD9EB}" dt="2021-11-27T12:00:28.725" v="206" actId="47"/>
        <pc:sldMkLst>
          <pc:docMk/>
          <pc:sldMk cId="2825434786" sldId="542"/>
        </pc:sldMkLst>
      </pc:sldChg>
      <pc:sldChg chg="del">
        <pc:chgData name="Thomas Stensitzki" userId="75cafe6b-2f2a-469b-85c4-eec3b9c972ba" providerId="ADAL" clId="{84A5A1CF-D4D8-4DEE-82E8-21007BEBD9EB}" dt="2021-11-27T12:00:28.725" v="206" actId="47"/>
        <pc:sldMkLst>
          <pc:docMk/>
          <pc:sldMk cId="2440018585" sldId="543"/>
        </pc:sldMkLst>
      </pc:sldChg>
      <pc:sldChg chg="del">
        <pc:chgData name="Thomas Stensitzki" userId="75cafe6b-2f2a-469b-85c4-eec3b9c972ba" providerId="ADAL" clId="{84A5A1CF-D4D8-4DEE-82E8-21007BEBD9EB}" dt="2021-11-27T12:00:28.725" v="206" actId="47"/>
        <pc:sldMkLst>
          <pc:docMk/>
          <pc:sldMk cId="3405544507" sldId="544"/>
        </pc:sldMkLst>
      </pc:sldChg>
      <pc:sldChg chg="del">
        <pc:chgData name="Thomas Stensitzki" userId="75cafe6b-2f2a-469b-85c4-eec3b9c972ba" providerId="ADAL" clId="{84A5A1CF-D4D8-4DEE-82E8-21007BEBD9EB}" dt="2021-11-27T12:00:28.725" v="206" actId="47"/>
        <pc:sldMkLst>
          <pc:docMk/>
          <pc:sldMk cId="3435528560" sldId="545"/>
        </pc:sldMkLst>
      </pc:sldChg>
      <pc:sldChg chg="del">
        <pc:chgData name="Thomas Stensitzki" userId="75cafe6b-2f2a-469b-85c4-eec3b9c972ba" providerId="ADAL" clId="{84A5A1CF-D4D8-4DEE-82E8-21007BEBD9EB}" dt="2021-11-27T12:00:28.725" v="206" actId="47"/>
        <pc:sldMkLst>
          <pc:docMk/>
          <pc:sldMk cId="351288392" sldId="546"/>
        </pc:sldMkLst>
      </pc:sldChg>
      <pc:sldChg chg="del">
        <pc:chgData name="Thomas Stensitzki" userId="75cafe6b-2f2a-469b-85c4-eec3b9c972ba" providerId="ADAL" clId="{84A5A1CF-D4D8-4DEE-82E8-21007BEBD9EB}" dt="2021-11-27T12:00:28.725" v="206" actId="47"/>
        <pc:sldMkLst>
          <pc:docMk/>
          <pc:sldMk cId="553914419" sldId="547"/>
        </pc:sldMkLst>
      </pc:sldChg>
      <pc:sldChg chg="del">
        <pc:chgData name="Thomas Stensitzki" userId="75cafe6b-2f2a-469b-85c4-eec3b9c972ba" providerId="ADAL" clId="{84A5A1CF-D4D8-4DEE-82E8-21007BEBD9EB}" dt="2021-11-27T12:00:28.725" v="206" actId="47"/>
        <pc:sldMkLst>
          <pc:docMk/>
          <pc:sldMk cId="3814430672" sldId="548"/>
        </pc:sldMkLst>
      </pc:sldChg>
      <pc:sldChg chg="del">
        <pc:chgData name="Thomas Stensitzki" userId="75cafe6b-2f2a-469b-85c4-eec3b9c972ba" providerId="ADAL" clId="{84A5A1CF-D4D8-4DEE-82E8-21007BEBD9EB}" dt="2021-11-27T12:00:28.725" v="206" actId="47"/>
        <pc:sldMkLst>
          <pc:docMk/>
          <pc:sldMk cId="3585174972" sldId="549"/>
        </pc:sldMkLst>
      </pc:sldChg>
      <pc:sldChg chg="del">
        <pc:chgData name="Thomas Stensitzki" userId="75cafe6b-2f2a-469b-85c4-eec3b9c972ba" providerId="ADAL" clId="{84A5A1CF-D4D8-4DEE-82E8-21007BEBD9EB}" dt="2021-11-27T12:00:28.725" v="206" actId="47"/>
        <pc:sldMkLst>
          <pc:docMk/>
          <pc:sldMk cId="50830545" sldId="550"/>
        </pc:sldMkLst>
      </pc:sldChg>
      <pc:sldChg chg="del">
        <pc:chgData name="Thomas Stensitzki" userId="75cafe6b-2f2a-469b-85c4-eec3b9c972ba" providerId="ADAL" clId="{84A5A1CF-D4D8-4DEE-82E8-21007BEBD9EB}" dt="2021-11-27T12:00:28.725" v="206" actId="47"/>
        <pc:sldMkLst>
          <pc:docMk/>
          <pc:sldMk cId="4020096464" sldId="551"/>
        </pc:sldMkLst>
      </pc:sldChg>
      <pc:sldChg chg="del">
        <pc:chgData name="Thomas Stensitzki" userId="75cafe6b-2f2a-469b-85c4-eec3b9c972ba" providerId="ADAL" clId="{84A5A1CF-D4D8-4DEE-82E8-21007BEBD9EB}" dt="2021-11-27T12:00:28.725" v="206" actId="47"/>
        <pc:sldMkLst>
          <pc:docMk/>
          <pc:sldMk cId="2714743288" sldId="552"/>
        </pc:sldMkLst>
      </pc:sldChg>
      <pc:sldChg chg="del">
        <pc:chgData name="Thomas Stensitzki" userId="75cafe6b-2f2a-469b-85c4-eec3b9c972ba" providerId="ADAL" clId="{84A5A1CF-D4D8-4DEE-82E8-21007BEBD9EB}" dt="2021-11-27T12:00:14.428" v="205" actId="47"/>
        <pc:sldMkLst>
          <pc:docMk/>
          <pc:sldMk cId="941299666" sldId="553"/>
        </pc:sldMkLst>
      </pc:sldChg>
      <pc:sldChg chg="del">
        <pc:chgData name="Thomas Stensitzki" userId="75cafe6b-2f2a-469b-85c4-eec3b9c972ba" providerId="ADAL" clId="{84A5A1CF-D4D8-4DEE-82E8-21007BEBD9EB}" dt="2021-11-27T12:00:14.428" v="205" actId="47"/>
        <pc:sldMkLst>
          <pc:docMk/>
          <pc:sldMk cId="2071923169" sldId="554"/>
        </pc:sldMkLst>
      </pc:sldChg>
      <pc:sldChg chg="del">
        <pc:chgData name="Thomas Stensitzki" userId="75cafe6b-2f2a-469b-85c4-eec3b9c972ba" providerId="ADAL" clId="{84A5A1CF-D4D8-4DEE-82E8-21007BEBD9EB}" dt="2021-11-27T12:00:14.428" v="205" actId="47"/>
        <pc:sldMkLst>
          <pc:docMk/>
          <pc:sldMk cId="1201850461" sldId="555"/>
        </pc:sldMkLst>
      </pc:sldChg>
      <pc:sldChg chg="del">
        <pc:chgData name="Thomas Stensitzki" userId="75cafe6b-2f2a-469b-85c4-eec3b9c972ba" providerId="ADAL" clId="{84A5A1CF-D4D8-4DEE-82E8-21007BEBD9EB}" dt="2021-11-27T12:00:14.428" v="205" actId="47"/>
        <pc:sldMkLst>
          <pc:docMk/>
          <pc:sldMk cId="1634876817" sldId="556"/>
        </pc:sldMkLst>
      </pc:sldChg>
      <pc:sldChg chg="del">
        <pc:chgData name="Thomas Stensitzki" userId="75cafe6b-2f2a-469b-85c4-eec3b9c972ba" providerId="ADAL" clId="{84A5A1CF-D4D8-4DEE-82E8-21007BEBD9EB}" dt="2021-11-27T12:00:14.428" v="205" actId="47"/>
        <pc:sldMkLst>
          <pc:docMk/>
          <pc:sldMk cId="1953218065" sldId="557"/>
        </pc:sldMkLst>
      </pc:sldChg>
      <pc:sldChg chg="del">
        <pc:chgData name="Thomas Stensitzki" userId="75cafe6b-2f2a-469b-85c4-eec3b9c972ba" providerId="ADAL" clId="{84A5A1CF-D4D8-4DEE-82E8-21007BEBD9EB}" dt="2021-11-27T12:00:14.428" v="205" actId="47"/>
        <pc:sldMkLst>
          <pc:docMk/>
          <pc:sldMk cId="4180666764" sldId="558"/>
        </pc:sldMkLst>
      </pc:sldChg>
      <pc:sldChg chg="del">
        <pc:chgData name="Thomas Stensitzki" userId="75cafe6b-2f2a-469b-85c4-eec3b9c972ba" providerId="ADAL" clId="{84A5A1CF-D4D8-4DEE-82E8-21007BEBD9EB}" dt="2021-11-27T12:00:14.428" v="205" actId="47"/>
        <pc:sldMkLst>
          <pc:docMk/>
          <pc:sldMk cId="3051092088" sldId="559"/>
        </pc:sldMkLst>
      </pc:sldChg>
      <pc:sldChg chg="modTransition">
        <pc:chgData name="Thomas Stensitzki" userId="75cafe6b-2f2a-469b-85c4-eec3b9c972ba" providerId="ADAL" clId="{84A5A1CF-D4D8-4DEE-82E8-21007BEBD9EB}" dt="2021-11-27T14:22:00.443" v="2304"/>
        <pc:sldMkLst>
          <pc:docMk/>
          <pc:sldMk cId="2791634409" sldId="560"/>
        </pc:sldMkLst>
      </pc:sldChg>
      <pc:sldChg chg="modSp mod modTransition">
        <pc:chgData name="Thomas Stensitzki" userId="75cafe6b-2f2a-469b-85c4-eec3b9c972ba" providerId="ADAL" clId="{84A5A1CF-D4D8-4DEE-82E8-21007BEBD9EB}" dt="2021-12-02T16:26:37.639" v="2824" actId="20577"/>
        <pc:sldMkLst>
          <pc:docMk/>
          <pc:sldMk cId="1728515471" sldId="561"/>
        </pc:sldMkLst>
        <pc:graphicFrameChg chg="modGraphic">
          <ac:chgData name="Thomas Stensitzki" userId="75cafe6b-2f2a-469b-85c4-eec3b9c972ba" providerId="ADAL" clId="{84A5A1CF-D4D8-4DEE-82E8-21007BEBD9EB}" dt="2021-12-02T16:26:37.639" v="2824" actId="20577"/>
          <ac:graphicFrameMkLst>
            <pc:docMk/>
            <pc:sldMk cId="1728515471" sldId="561"/>
            <ac:graphicFrameMk id="4" creationId="{55EDB790-67BC-42E5-B64A-5647620B8383}"/>
          </ac:graphicFrameMkLst>
        </pc:graphicFrameChg>
      </pc:sldChg>
      <pc:sldChg chg="modSp new mod ord modTransition">
        <pc:chgData name="Thomas Stensitzki" userId="75cafe6b-2f2a-469b-85c4-eec3b9c972ba" providerId="ADAL" clId="{84A5A1CF-D4D8-4DEE-82E8-21007BEBD9EB}" dt="2021-11-27T14:22:00.443" v="2304"/>
        <pc:sldMkLst>
          <pc:docMk/>
          <pc:sldMk cId="897532384" sldId="562"/>
        </pc:sldMkLst>
        <pc:spChg chg="mod">
          <ac:chgData name="Thomas Stensitzki" userId="75cafe6b-2f2a-469b-85c4-eec3b9c972ba" providerId="ADAL" clId="{84A5A1CF-D4D8-4DEE-82E8-21007BEBD9EB}" dt="2021-11-27T12:30:47.989" v="212"/>
          <ac:spMkLst>
            <pc:docMk/>
            <pc:sldMk cId="897532384" sldId="562"/>
            <ac:spMk id="2" creationId="{B9384983-4DF6-4A09-B757-2DBD331A8DEC}"/>
          </ac:spMkLst>
        </pc:spChg>
        <pc:spChg chg="mod">
          <ac:chgData name="Thomas Stensitzki" userId="75cafe6b-2f2a-469b-85c4-eec3b9c972ba" providerId="ADAL" clId="{84A5A1CF-D4D8-4DEE-82E8-21007BEBD9EB}" dt="2021-11-27T12:33:15.558" v="244" actId="113"/>
          <ac:spMkLst>
            <pc:docMk/>
            <pc:sldMk cId="897532384" sldId="562"/>
            <ac:spMk id="3" creationId="{5E82B50B-288A-44A6-9AC2-EE4197BFDE54}"/>
          </ac:spMkLst>
        </pc:spChg>
      </pc:sldChg>
      <pc:sldChg chg="addSp delSp modSp new mod ord modTransition">
        <pc:chgData name="Thomas Stensitzki" userId="75cafe6b-2f2a-469b-85c4-eec3b9c972ba" providerId="ADAL" clId="{84A5A1CF-D4D8-4DEE-82E8-21007BEBD9EB}" dt="2021-11-27T14:22:00.443" v="2304"/>
        <pc:sldMkLst>
          <pc:docMk/>
          <pc:sldMk cId="2102933315" sldId="563"/>
        </pc:sldMkLst>
        <pc:spChg chg="mod">
          <ac:chgData name="Thomas Stensitzki" userId="75cafe6b-2f2a-469b-85c4-eec3b9c972ba" providerId="ADAL" clId="{84A5A1CF-D4D8-4DEE-82E8-21007BEBD9EB}" dt="2021-11-27T12:34:28.361" v="246"/>
          <ac:spMkLst>
            <pc:docMk/>
            <pc:sldMk cId="2102933315" sldId="563"/>
            <ac:spMk id="2" creationId="{749A14BF-8BA4-4101-95CA-9F334BB75553}"/>
          </ac:spMkLst>
        </pc:spChg>
        <pc:spChg chg="del">
          <ac:chgData name="Thomas Stensitzki" userId="75cafe6b-2f2a-469b-85c4-eec3b9c972ba" providerId="ADAL" clId="{84A5A1CF-D4D8-4DEE-82E8-21007BEBD9EB}" dt="2021-11-27T12:35:39.160" v="247" actId="478"/>
          <ac:spMkLst>
            <pc:docMk/>
            <pc:sldMk cId="2102933315" sldId="563"/>
            <ac:spMk id="3" creationId="{6A74F9E0-6240-4984-BD06-5A913609FCE1}"/>
          </ac:spMkLst>
        </pc:spChg>
        <pc:picChg chg="add mod">
          <ac:chgData name="Thomas Stensitzki" userId="75cafe6b-2f2a-469b-85c4-eec3b9c972ba" providerId="ADAL" clId="{84A5A1CF-D4D8-4DEE-82E8-21007BEBD9EB}" dt="2021-11-27T12:35:55.538" v="251" actId="1440"/>
          <ac:picMkLst>
            <pc:docMk/>
            <pc:sldMk cId="2102933315" sldId="563"/>
            <ac:picMk id="5" creationId="{A68F87C8-9FE2-408A-BF02-EA030B35165A}"/>
          </ac:picMkLst>
        </pc:picChg>
      </pc:sldChg>
      <pc:sldChg chg="addSp delSp modSp new mod ord modTransition">
        <pc:chgData name="Thomas Stensitzki" userId="75cafe6b-2f2a-469b-85c4-eec3b9c972ba" providerId="ADAL" clId="{84A5A1CF-D4D8-4DEE-82E8-21007BEBD9EB}" dt="2021-11-27T14:22:00.443" v="2304"/>
        <pc:sldMkLst>
          <pc:docMk/>
          <pc:sldMk cId="2675026296" sldId="564"/>
        </pc:sldMkLst>
        <pc:spChg chg="mod">
          <ac:chgData name="Thomas Stensitzki" userId="75cafe6b-2f2a-469b-85c4-eec3b9c972ba" providerId="ADAL" clId="{84A5A1CF-D4D8-4DEE-82E8-21007BEBD9EB}" dt="2021-11-27T12:37:50.304" v="265" actId="1076"/>
          <ac:spMkLst>
            <pc:docMk/>
            <pc:sldMk cId="2675026296" sldId="564"/>
            <ac:spMk id="2" creationId="{6894DBB3-E0CF-4EE8-A621-167E57CE7B06}"/>
          </ac:spMkLst>
        </pc:spChg>
        <pc:spChg chg="del">
          <ac:chgData name="Thomas Stensitzki" userId="75cafe6b-2f2a-469b-85c4-eec3b9c972ba" providerId="ADAL" clId="{84A5A1CF-D4D8-4DEE-82E8-21007BEBD9EB}" dt="2021-11-27T12:37:21.819" v="259" actId="478"/>
          <ac:spMkLst>
            <pc:docMk/>
            <pc:sldMk cId="2675026296" sldId="564"/>
            <ac:spMk id="3" creationId="{B4A61D97-79E4-40D7-9E37-F1684755E894}"/>
          </ac:spMkLst>
        </pc:spChg>
        <pc:picChg chg="add mod">
          <ac:chgData name="Thomas Stensitzki" userId="75cafe6b-2f2a-469b-85c4-eec3b9c972ba" providerId="ADAL" clId="{84A5A1CF-D4D8-4DEE-82E8-21007BEBD9EB}" dt="2021-11-27T12:39:18.392" v="279" actId="1076"/>
          <ac:picMkLst>
            <pc:docMk/>
            <pc:sldMk cId="2675026296" sldId="564"/>
            <ac:picMk id="1026" creationId="{C19B7B81-97C0-485B-AB93-5AD9968F0B8D}"/>
          </ac:picMkLst>
        </pc:picChg>
        <pc:picChg chg="add del mod">
          <ac:chgData name="Thomas Stensitzki" userId="75cafe6b-2f2a-469b-85c4-eec3b9c972ba" providerId="ADAL" clId="{84A5A1CF-D4D8-4DEE-82E8-21007BEBD9EB}" dt="2021-11-27T12:38:52.491" v="273" actId="478"/>
          <ac:picMkLst>
            <pc:docMk/>
            <pc:sldMk cId="2675026296" sldId="564"/>
            <ac:picMk id="1028" creationId="{21C8DDE4-9892-4712-B01C-CC83F24BDE85}"/>
          </ac:picMkLst>
        </pc:picChg>
      </pc:sldChg>
      <pc:sldChg chg="addSp delSp modSp add ord modTransition">
        <pc:chgData name="Thomas Stensitzki" userId="75cafe6b-2f2a-469b-85c4-eec3b9c972ba" providerId="ADAL" clId="{84A5A1CF-D4D8-4DEE-82E8-21007BEBD9EB}" dt="2021-11-27T14:22:00.443" v="2304"/>
        <pc:sldMkLst>
          <pc:docMk/>
          <pc:sldMk cId="3751554083" sldId="565"/>
        </pc:sldMkLst>
        <pc:picChg chg="add del mod">
          <ac:chgData name="Thomas Stensitzki" userId="75cafe6b-2f2a-469b-85c4-eec3b9c972ba" providerId="ADAL" clId="{84A5A1CF-D4D8-4DEE-82E8-21007BEBD9EB}" dt="2021-11-27T12:39:33.531" v="283"/>
          <ac:picMkLst>
            <pc:docMk/>
            <pc:sldMk cId="3751554083" sldId="565"/>
            <ac:picMk id="5" creationId="{BF5C1B38-37EE-49E6-8EB0-40C18F276FC4}"/>
          </ac:picMkLst>
        </pc:picChg>
        <pc:picChg chg="del">
          <ac:chgData name="Thomas Stensitzki" userId="75cafe6b-2f2a-469b-85c4-eec3b9c972ba" providerId="ADAL" clId="{84A5A1CF-D4D8-4DEE-82E8-21007BEBD9EB}" dt="2021-11-27T12:39:08.086" v="277" actId="478"/>
          <ac:picMkLst>
            <pc:docMk/>
            <pc:sldMk cId="3751554083" sldId="565"/>
            <ac:picMk id="1026" creationId="{C19B7B81-97C0-485B-AB93-5AD9968F0B8D}"/>
          </ac:picMkLst>
        </pc:picChg>
        <pc:picChg chg="mod">
          <ac:chgData name="Thomas Stensitzki" userId="75cafe6b-2f2a-469b-85c4-eec3b9c972ba" providerId="ADAL" clId="{84A5A1CF-D4D8-4DEE-82E8-21007BEBD9EB}" dt="2021-11-27T12:39:26.588" v="281" actId="1440"/>
          <ac:picMkLst>
            <pc:docMk/>
            <pc:sldMk cId="3751554083" sldId="565"/>
            <ac:picMk id="1028" creationId="{21C8DDE4-9892-4712-B01C-CC83F24BDE85}"/>
          </ac:picMkLst>
        </pc:picChg>
      </pc:sldChg>
      <pc:sldChg chg="addSp delSp modSp add mod ord modTransition">
        <pc:chgData name="Thomas Stensitzki" userId="75cafe6b-2f2a-469b-85c4-eec3b9c972ba" providerId="ADAL" clId="{84A5A1CF-D4D8-4DEE-82E8-21007BEBD9EB}" dt="2021-11-27T14:22:00.443" v="2304"/>
        <pc:sldMkLst>
          <pc:docMk/>
          <pc:sldMk cId="3413303963" sldId="566"/>
        </pc:sldMkLst>
        <pc:spChg chg="add mod">
          <ac:chgData name="Thomas Stensitzki" userId="75cafe6b-2f2a-469b-85c4-eec3b9c972ba" providerId="ADAL" clId="{84A5A1CF-D4D8-4DEE-82E8-21007BEBD9EB}" dt="2021-11-27T12:52:32.858" v="526" actId="113"/>
          <ac:spMkLst>
            <pc:docMk/>
            <pc:sldMk cId="3413303963" sldId="566"/>
            <ac:spMk id="3" creationId="{F6637E9C-07CF-46F5-B8BA-8BD6C6DD390A}"/>
          </ac:spMkLst>
        </pc:spChg>
        <pc:picChg chg="del">
          <ac:chgData name="Thomas Stensitzki" userId="75cafe6b-2f2a-469b-85c4-eec3b9c972ba" providerId="ADAL" clId="{84A5A1CF-D4D8-4DEE-82E8-21007BEBD9EB}" dt="2021-11-27T12:40:01.213" v="292" actId="478"/>
          <ac:picMkLst>
            <pc:docMk/>
            <pc:sldMk cId="3413303963" sldId="566"/>
            <ac:picMk id="1028" creationId="{21C8DDE4-9892-4712-B01C-CC83F24BDE85}"/>
          </ac:picMkLst>
        </pc:picChg>
        <pc:picChg chg="add mod">
          <ac:chgData name="Thomas Stensitzki" userId="75cafe6b-2f2a-469b-85c4-eec3b9c972ba" providerId="ADAL" clId="{84A5A1CF-D4D8-4DEE-82E8-21007BEBD9EB}" dt="2021-11-27T12:40:07.774" v="293" actId="1440"/>
          <ac:picMkLst>
            <pc:docMk/>
            <pc:sldMk cId="3413303963" sldId="566"/>
            <ac:picMk id="2050" creationId="{D44C025D-3636-4E33-8799-71326FAB6D2F}"/>
          </ac:picMkLst>
        </pc:picChg>
      </pc:sldChg>
      <pc:sldChg chg="modSp new mod modTransition modNotesTx">
        <pc:chgData name="Thomas Stensitzki" userId="75cafe6b-2f2a-469b-85c4-eec3b9c972ba" providerId="ADAL" clId="{84A5A1CF-D4D8-4DEE-82E8-21007BEBD9EB}" dt="2021-11-27T14:22:00.443" v="2304"/>
        <pc:sldMkLst>
          <pc:docMk/>
          <pc:sldMk cId="4104137776" sldId="567"/>
        </pc:sldMkLst>
        <pc:spChg chg="mod">
          <ac:chgData name="Thomas Stensitzki" userId="75cafe6b-2f2a-469b-85c4-eec3b9c972ba" providerId="ADAL" clId="{84A5A1CF-D4D8-4DEE-82E8-21007BEBD9EB}" dt="2021-11-27T12:44:11.212" v="357"/>
          <ac:spMkLst>
            <pc:docMk/>
            <pc:sldMk cId="4104137776" sldId="567"/>
            <ac:spMk id="2" creationId="{EC46AD28-746E-4246-884F-4DAE24C62042}"/>
          </ac:spMkLst>
        </pc:spChg>
        <pc:spChg chg="mod">
          <ac:chgData name="Thomas Stensitzki" userId="75cafe6b-2f2a-469b-85c4-eec3b9c972ba" providerId="ADAL" clId="{84A5A1CF-D4D8-4DEE-82E8-21007BEBD9EB}" dt="2021-11-27T12:46:10.281" v="453" actId="6549"/>
          <ac:spMkLst>
            <pc:docMk/>
            <pc:sldMk cId="4104137776" sldId="567"/>
            <ac:spMk id="3" creationId="{4B4B1B02-433C-4551-A25C-9193BE90D3D9}"/>
          </ac:spMkLst>
        </pc:spChg>
      </pc:sldChg>
      <pc:sldChg chg="addSp modSp new mod modTransition">
        <pc:chgData name="Thomas Stensitzki" userId="75cafe6b-2f2a-469b-85c4-eec3b9c972ba" providerId="ADAL" clId="{84A5A1CF-D4D8-4DEE-82E8-21007BEBD9EB}" dt="2021-11-27T14:22:00.443" v="2304"/>
        <pc:sldMkLst>
          <pc:docMk/>
          <pc:sldMk cId="2906341100" sldId="568"/>
        </pc:sldMkLst>
        <pc:spChg chg="mod">
          <ac:chgData name="Thomas Stensitzki" userId="75cafe6b-2f2a-469b-85c4-eec3b9c972ba" providerId="ADAL" clId="{84A5A1CF-D4D8-4DEE-82E8-21007BEBD9EB}" dt="2021-11-27T12:46:57.032" v="457"/>
          <ac:spMkLst>
            <pc:docMk/>
            <pc:sldMk cId="2906341100" sldId="568"/>
            <ac:spMk id="2" creationId="{213EDA42-9E99-426D-A9D3-11B033786D89}"/>
          </ac:spMkLst>
        </pc:spChg>
        <pc:spChg chg="mod">
          <ac:chgData name="Thomas Stensitzki" userId="75cafe6b-2f2a-469b-85c4-eec3b9c972ba" providerId="ADAL" clId="{84A5A1CF-D4D8-4DEE-82E8-21007BEBD9EB}" dt="2021-11-27T12:48:59.009" v="474" actId="20577"/>
          <ac:spMkLst>
            <pc:docMk/>
            <pc:sldMk cId="2906341100" sldId="568"/>
            <ac:spMk id="3" creationId="{094B73E2-A551-418E-A4BA-2ECB4EFA713E}"/>
          </ac:spMkLst>
        </pc:spChg>
        <pc:picChg chg="add mod">
          <ac:chgData name="Thomas Stensitzki" userId="75cafe6b-2f2a-469b-85c4-eec3b9c972ba" providerId="ADAL" clId="{84A5A1CF-D4D8-4DEE-82E8-21007BEBD9EB}" dt="2021-11-27T12:48:34.178" v="471" actId="1076"/>
          <ac:picMkLst>
            <pc:docMk/>
            <pc:sldMk cId="2906341100" sldId="568"/>
            <ac:picMk id="4098" creationId="{71F0A4FF-3761-4119-A138-E7851CF4ABF5}"/>
          </ac:picMkLst>
        </pc:picChg>
        <pc:picChg chg="add mod">
          <ac:chgData name="Thomas Stensitzki" userId="75cafe6b-2f2a-469b-85c4-eec3b9c972ba" providerId="ADAL" clId="{84A5A1CF-D4D8-4DEE-82E8-21007BEBD9EB}" dt="2021-11-27T12:48:38.379" v="472" actId="1440"/>
          <ac:picMkLst>
            <pc:docMk/>
            <pc:sldMk cId="2906341100" sldId="568"/>
            <ac:picMk id="4100" creationId="{AEF59BB8-3804-464D-864E-6AC392EDAB61}"/>
          </ac:picMkLst>
        </pc:picChg>
      </pc:sldChg>
      <pc:sldChg chg="addSp delSp modSp new mod modTransition">
        <pc:chgData name="Thomas Stensitzki" userId="75cafe6b-2f2a-469b-85c4-eec3b9c972ba" providerId="ADAL" clId="{84A5A1CF-D4D8-4DEE-82E8-21007BEBD9EB}" dt="2021-11-27T14:22:00.443" v="2304"/>
        <pc:sldMkLst>
          <pc:docMk/>
          <pc:sldMk cId="3640343721" sldId="569"/>
        </pc:sldMkLst>
        <pc:spChg chg="mod">
          <ac:chgData name="Thomas Stensitzki" userId="75cafe6b-2f2a-469b-85c4-eec3b9c972ba" providerId="ADAL" clId="{84A5A1CF-D4D8-4DEE-82E8-21007BEBD9EB}" dt="2021-11-27T12:50:46.154" v="484" actId="20577"/>
          <ac:spMkLst>
            <pc:docMk/>
            <pc:sldMk cId="3640343721" sldId="569"/>
            <ac:spMk id="2" creationId="{077AA5A5-DF68-41E8-8F8D-92196D7B40ED}"/>
          </ac:spMkLst>
        </pc:spChg>
        <pc:spChg chg="del">
          <ac:chgData name="Thomas Stensitzki" userId="75cafe6b-2f2a-469b-85c4-eec3b9c972ba" providerId="ADAL" clId="{84A5A1CF-D4D8-4DEE-82E8-21007BEBD9EB}" dt="2021-11-27T12:50:54.617" v="485" actId="478"/>
          <ac:spMkLst>
            <pc:docMk/>
            <pc:sldMk cId="3640343721" sldId="569"/>
            <ac:spMk id="3" creationId="{FB59501C-46E8-4FDC-A36A-091E660B1782}"/>
          </ac:spMkLst>
        </pc:spChg>
        <pc:spChg chg="add mod">
          <ac:chgData name="Thomas Stensitzki" userId="75cafe6b-2f2a-469b-85c4-eec3b9c972ba" providerId="ADAL" clId="{84A5A1CF-D4D8-4DEE-82E8-21007BEBD9EB}" dt="2021-11-27T12:52:10.018" v="525" actId="113"/>
          <ac:spMkLst>
            <pc:docMk/>
            <pc:sldMk cId="3640343721" sldId="569"/>
            <ac:spMk id="7" creationId="{40BDCE98-5D01-471F-8B84-ACD046237E26}"/>
          </ac:spMkLst>
        </pc:spChg>
        <pc:picChg chg="add mod">
          <ac:chgData name="Thomas Stensitzki" userId="75cafe6b-2f2a-469b-85c4-eec3b9c972ba" providerId="ADAL" clId="{84A5A1CF-D4D8-4DEE-82E8-21007BEBD9EB}" dt="2021-11-27T12:51:04.945" v="488" actId="1076"/>
          <ac:picMkLst>
            <pc:docMk/>
            <pc:sldMk cId="3640343721" sldId="569"/>
            <ac:picMk id="5122" creationId="{BBACD33E-D0F0-4797-9E16-003214C3CE82}"/>
          </ac:picMkLst>
        </pc:picChg>
        <pc:cxnChg chg="add mod">
          <ac:chgData name="Thomas Stensitzki" userId="75cafe6b-2f2a-469b-85c4-eec3b9c972ba" providerId="ADAL" clId="{84A5A1CF-D4D8-4DEE-82E8-21007BEBD9EB}" dt="2021-11-27T12:51:24.336" v="491" actId="1582"/>
          <ac:cxnSpMkLst>
            <pc:docMk/>
            <pc:sldMk cId="3640343721" sldId="569"/>
            <ac:cxnSpMk id="5" creationId="{65597AF5-6F28-40B8-9958-113C8DF28DB4}"/>
          </ac:cxnSpMkLst>
        </pc:cxnChg>
      </pc:sldChg>
      <pc:sldChg chg="addSp delSp modSp new mod modTransition">
        <pc:chgData name="Thomas Stensitzki" userId="75cafe6b-2f2a-469b-85c4-eec3b9c972ba" providerId="ADAL" clId="{84A5A1CF-D4D8-4DEE-82E8-21007BEBD9EB}" dt="2021-11-27T14:22:00.443" v="2304"/>
        <pc:sldMkLst>
          <pc:docMk/>
          <pc:sldMk cId="1487249929" sldId="570"/>
        </pc:sldMkLst>
        <pc:spChg chg="mod">
          <ac:chgData name="Thomas Stensitzki" userId="75cafe6b-2f2a-469b-85c4-eec3b9c972ba" providerId="ADAL" clId="{84A5A1CF-D4D8-4DEE-82E8-21007BEBD9EB}" dt="2021-11-27T12:54:30.953" v="570"/>
          <ac:spMkLst>
            <pc:docMk/>
            <pc:sldMk cId="1487249929" sldId="570"/>
            <ac:spMk id="2" creationId="{2B5644A9-E384-47CB-8AF9-D66B20F16926}"/>
          </ac:spMkLst>
        </pc:spChg>
        <pc:spChg chg="del">
          <ac:chgData name="Thomas Stensitzki" userId="75cafe6b-2f2a-469b-85c4-eec3b9c972ba" providerId="ADAL" clId="{84A5A1CF-D4D8-4DEE-82E8-21007BEBD9EB}" dt="2021-11-27T12:54:33.666" v="571" actId="478"/>
          <ac:spMkLst>
            <pc:docMk/>
            <pc:sldMk cId="1487249929" sldId="570"/>
            <ac:spMk id="3" creationId="{3F74D62A-2892-4EEB-9535-65970DDE4C9A}"/>
          </ac:spMkLst>
        </pc:spChg>
        <pc:spChg chg="add mod">
          <ac:chgData name="Thomas Stensitzki" userId="75cafe6b-2f2a-469b-85c4-eec3b9c972ba" providerId="ADAL" clId="{84A5A1CF-D4D8-4DEE-82E8-21007BEBD9EB}" dt="2021-11-27T12:55:17.245" v="579"/>
          <ac:spMkLst>
            <pc:docMk/>
            <pc:sldMk cId="1487249929" sldId="570"/>
            <ac:spMk id="6" creationId="{67408528-496B-4A8C-923D-BBCF0BF450CD}"/>
          </ac:spMkLst>
        </pc:spChg>
        <pc:picChg chg="add mod">
          <ac:chgData name="Thomas Stensitzki" userId="75cafe6b-2f2a-469b-85c4-eec3b9c972ba" providerId="ADAL" clId="{84A5A1CF-D4D8-4DEE-82E8-21007BEBD9EB}" dt="2021-11-27T12:54:53.184" v="574" actId="1076"/>
          <ac:picMkLst>
            <pc:docMk/>
            <pc:sldMk cId="1487249929" sldId="570"/>
            <ac:picMk id="6146" creationId="{6D39E317-C8A4-4105-9304-C618D6BF7D51}"/>
          </ac:picMkLst>
        </pc:picChg>
        <pc:cxnChg chg="add del mod">
          <ac:chgData name="Thomas Stensitzki" userId="75cafe6b-2f2a-469b-85c4-eec3b9c972ba" providerId="ADAL" clId="{84A5A1CF-D4D8-4DEE-82E8-21007BEBD9EB}" dt="2021-11-27T12:55:12.032" v="578" actId="478"/>
          <ac:cxnSpMkLst>
            <pc:docMk/>
            <pc:sldMk cId="1487249929" sldId="570"/>
            <ac:cxnSpMk id="5" creationId="{C2BE2268-1F13-4EA2-8125-79393F30B47C}"/>
          </ac:cxnSpMkLst>
        </pc:cxnChg>
      </pc:sldChg>
      <pc:sldChg chg="addSp delSp modSp new mod modTransition">
        <pc:chgData name="Thomas Stensitzki" userId="75cafe6b-2f2a-469b-85c4-eec3b9c972ba" providerId="ADAL" clId="{84A5A1CF-D4D8-4DEE-82E8-21007BEBD9EB}" dt="2021-11-27T14:22:00.443" v="2304"/>
        <pc:sldMkLst>
          <pc:docMk/>
          <pc:sldMk cId="3439814073" sldId="571"/>
        </pc:sldMkLst>
        <pc:spChg chg="mod">
          <ac:chgData name="Thomas Stensitzki" userId="75cafe6b-2f2a-469b-85c4-eec3b9c972ba" providerId="ADAL" clId="{84A5A1CF-D4D8-4DEE-82E8-21007BEBD9EB}" dt="2021-11-27T12:56:03.419" v="583"/>
          <ac:spMkLst>
            <pc:docMk/>
            <pc:sldMk cId="3439814073" sldId="571"/>
            <ac:spMk id="2" creationId="{D8507FEC-74F7-4C21-8EF9-BA9209F32E2B}"/>
          </ac:spMkLst>
        </pc:spChg>
        <pc:spChg chg="mod">
          <ac:chgData name="Thomas Stensitzki" userId="75cafe6b-2f2a-469b-85c4-eec3b9c972ba" providerId="ADAL" clId="{84A5A1CF-D4D8-4DEE-82E8-21007BEBD9EB}" dt="2021-11-27T13:04:48.915" v="704" actId="20577"/>
          <ac:spMkLst>
            <pc:docMk/>
            <pc:sldMk cId="3439814073" sldId="571"/>
            <ac:spMk id="3" creationId="{6EB7B5E6-89A9-4BAC-8504-02BC60651AFA}"/>
          </ac:spMkLst>
        </pc:spChg>
        <pc:spChg chg="add del">
          <ac:chgData name="Thomas Stensitzki" userId="75cafe6b-2f2a-469b-85c4-eec3b9c972ba" providerId="ADAL" clId="{84A5A1CF-D4D8-4DEE-82E8-21007BEBD9EB}" dt="2021-11-27T13:12:08.846" v="733" actId="22"/>
          <ac:spMkLst>
            <pc:docMk/>
            <pc:sldMk cId="3439814073" sldId="571"/>
            <ac:spMk id="5" creationId="{A8A57D1A-AFEB-4F1F-B48D-A517BC4FD13C}"/>
          </ac:spMkLst>
        </pc:spChg>
      </pc:sldChg>
      <pc:sldChg chg="modSp new mod modTransition">
        <pc:chgData name="Thomas Stensitzki" userId="75cafe6b-2f2a-469b-85c4-eec3b9c972ba" providerId="ADAL" clId="{84A5A1CF-D4D8-4DEE-82E8-21007BEBD9EB}" dt="2021-11-27T14:22:00.443" v="2304"/>
        <pc:sldMkLst>
          <pc:docMk/>
          <pc:sldMk cId="3856037473" sldId="572"/>
        </pc:sldMkLst>
        <pc:spChg chg="mod">
          <ac:chgData name="Thomas Stensitzki" userId="75cafe6b-2f2a-469b-85c4-eec3b9c972ba" providerId="ADAL" clId="{84A5A1CF-D4D8-4DEE-82E8-21007BEBD9EB}" dt="2021-11-27T13:12:15.838" v="735"/>
          <ac:spMkLst>
            <pc:docMk/>
            <pc:sldMk cId="3856037473" sldId="572"/>
            <ac:spMk id="2" creationId="{495323C2-BD50-45AA-B122-4559F104D245}"/>
          </ac:spMkLst>
        </pc:spChg>
        <pc:spChg chg="mod">
          <ac:chgData name="Thomas Stensitzki" userId="75cafe6b-2f2a-469b-85c4-eec3b9c972ba" providerId="ADAL" clId="{84A5A1CF-D4D8-4DEE-82E8-21007BEBD9EB}" dt="2021-11-27T13:12:50.635" v="784" actId="20577"/>
          <ac:spMkLst>
            <pc:docMk/>
            <pc:sldMk cId="3856037473" sldId="572"/>
            <ac:spMk id="3" creationId="{17DF15F4-B4D1-4236-A83C-34FFD863A5BF}"/>
          </ac:spMkLst>
        </pc:spChg>
      </pc:sldChg>
      <pc:sldChg chg="modSp add mod ord modTransition">
        <pc:chgData name="Thomas Stensitzki" userId="75cafe6b-2f2a-469b-85c4-eec3b9c972ba" providerId="ADAL" clId="{84A5A1CF-D4D8-4DEE-82E8-21007BEBD9EB}" dt="2021-12-02T10:39:38.576" v="2664"/>
        <pc:sldMkLst>
          <pc:docMk/>
          <pc:sldMk cId="438806011" sldId="573"/>
        </pc:sldMkLst>
        <pc:spChg chg="mod">
          <ac:chgData name="Thomas Stensitzki" userId="75cafe6b-2f2a-469b-85c4-eec3b9c972ba" providerId="ADAL" clId="{84A5A1CF-D4D8-4DEE-82E8-21007BEBD9EB}" dt="2021-11-27T14:18:21.321" v="1991" actId="1035"/>
          <ac:spMkLst>
            <pc:docMk/>
            <pc:sldMk cId="438806011" sldId="573"/>
            <ac:spMk id="2" creationId="{909DC09D-B9A6-4493-9A72-1CA7ECB1F5CA}"/>
          </ac:spMkLst>
        </pc:spChg>
        <pc:spChg chg="mod">
          <ac:chgData name="Thomas Stensitzki" userId="75cafe6b-2f2a-469b-85c4-eec3b9c972ba" providerId="ADAL" clId="{84A5A1CF-D4D8-4DEE-82E8-21007BEBD9EB}" dt="2021-11-27T14:18:39.369" v="2028" actId="20577"/>
          <ac:spMkLst>
            <pc:docMk/>
            <pc:sldMk cId="438806011" sldId="573"/>
            <ac:spMk id="5" creationId="{C24DACB5-1BEC-4C86-9652-BAFD8DE56FEF}"/>
          </ac:spMkLst>
        </pc:spChg>
      </pc:sldChg>
      <pc:sldChg chg="addSp delSp modSp new mod modTransition modClrScheme chgLayout modNotesTx">
        <pc:chgData name="Thomas Stensitzki" userId="75cafe6b-2f2a-469b-85c4-eec3b9c972ba" providerId="ADAL" clId="{84A5A1CF-D4D8-4DEE-82E8-21007BEBD9EB}" dt="2021-11-27T14:22:00.443" v="2304"/>
        <pc:sldMkLst>
          <pc:docMk/>
          <pc:sldMk cId="1351629711" sldId="574"/>
        </pc:sldMkLst>
        <pc:spChg chg="mod ord">
          <ac:chgData name="Thomas Stensitzki" userId="75cafe6b-2f2a-469b-85c4-eec3b9c972ba" providerId="ADAL" clId="{84A5A1CF-D4D8-4DEE-82E8-21007BEBD9EB}" dt="2021-11-27T14:18:45.624" v="2030" actId="6549"/>
          <ac:spMkLst>
            <pc:docMk/>
            <pc:sldMk cId="1351629711" sldId="574"/>
            <ac:spMk id="2" creationId="{9728212F-1072-4BCA-A490-AD558DB23268}"/>
          </ac:spMkLst>
        </pc:spChg>
        <pc:spChg chg="mod ord">
          <ac:chgData name="Thomas Stensitzki" userId="75cafe6b-2f2a-469b-85c4-eec3b9c972ba" providerId="ADAL" clId="{84A5A1CF-D4D8-4DEE-82E8-21007BEBD9EB}" dt="2021-11-27T13:21:21.382" v="848" actId="113"/>
          <ac:spMkLst>
            <pc:docMk/>
            <pc:sldMk cId="1351629711" sldId="574"/>
            <ac:spMk id="3" creationId="{31CBEFE0-747F-4833-810D-9695474D8F6A}"/>
          </ac:spMkLst>
        </pc:spChg>
        <pc:spChg chg="add mod ord">
          <ac:chgData name="Thomas Stensitzki" userId="75cafe6b-2f2a-469b-85c4-eec3b9c972ba" providerId="ADAL" clId="{84A5A1CF-D4D8-4DEE-82E8-21007BEBD9EB}" dt="2021-11-27T13:21:08.889" v="844" actId="113"/>
          <ac:spMkLst>
            <pc:docMk/>
            <pc:sldMk cId="1351629711" sldId="574"/>
            <ac:spMk id="4" creationId="{14C59B38-01E9-4E02-8E06-6EF4B07F8B36}"/>
          </ac:spMkLst>
        </pc:spChg>
        <pc:spChg chg="add del">
          <ac:chgData name="Thomas Stensitzki" userId="75cafe6b-2f2a-469b-85c4-eec3b9c972ba" providerId="ADAL" clId="{84A5A1CF-D4D8-4DEE-82E8-21007BEBD9EB}" dt="2021-11-27T13:21:34.002" v="850" actId="22"/>
          <ac:spMkLst>
            <pc:docMk/>
            <pc:sldMk cId="1351629711" sldId="574"/>
            <ac:spMk id="6" creationId="{676B8897-6B3B-49B9-88E3-4D78885761B2}"/>
          </ac:spMkLst>
        </pc:spChg>
      </pc:sldChg>
      <pc:sldChg chg="addSp delSp modSp add mod modTransition">
        <pc:chgData name="Thomas Stensitzki" userId="75cafe6b-2f2a-469b-85c4-eec3b9c972ba" providerId="ADAL" clId="{84A5A1CF-D4D8-4DEE-82E8-21007BEBD9EB}" dt="2021-11-27T14:22:00.443" v="2304"/>
        <pc:sldMkLst>
          <pc:docMk/>
          <pc:sldMk cId="482620437" sldId="575"/>
        </pc:sldMkLst>
        <pc:spChg chg="mod">
          <ac:chgData name="Thomas Stensitzki" userId="75cafe6b-2f2a-469b-85c4-eec3b9c972ba" providerId="ADAL" clId="{84A5A1CF-D4D8-4DEE-82E8-21007BEBD9EB}" dt="2021-11-27T14:18:49.576" v="2032" actId="6549"/>
          <ac:spMkLst>
            <pc:docMk/>
            <pc:sldMk cId="482620437" sldId="575"/>
            <ac:spMk id="2" creationId="{9728212F-1072-4BCA-A490-AD558DB23268}"/>
          </ac:spMkLst>
        </pc:spChg>
        <pc:spChg chg="del">
          <ac:chgData name="Thomas Stensitzki" userId="75cafe6b-2f2a-469b-85c4-eec3b9c972ba" providerId="ADAL" clId="{84A5A1CF-D4D8-4DEE-82E8-21007BEBD9EB}" dt="2021-11-27T13:18:32.481" v="817" actId="478"/>
          <ac:spMkLst>
            <pc:docMk/>
            <pc:sldMk cId="482620437" sldId="575"/>
            <ac:spMk id="3" creationId="{31CBEFE0-747F-4833-810D-9695474D8F6A}"/>
          </ac:spMkLst>
        </pc:spChg>
        <pc:spChg chg="add mod">
          <ac:chgData name="Thomas Stensitzki" userId="75cafe6b-2f2a-469b-85c4-eec3b9c972ba" providerId="ADAL" clId="{84A5A1CF-D4D8-4DEE-82E8-21007BEBD9EB}" dt="2021-11-27T13:19:28.889" v="827" actId="1037"/>
          <ac:spMkLst>
            <pc:docMk/>
            <pc:sldMk cId="482620437" sldId="575"/>
            <ac:spMk id="6" creationId="{7AA5DF98-D08E-43DA-A799-AFFE73A28AFC}"/>
          </ac:spMkLst>
        </pc:spChg>
        <pc:picChg chg="add mod">
          <ac:chgData name="Thomas Stensitzki" userId="75cafe6b-2f2a-469b-85c4-eec3b9c972ba" providerId="ADAL" clId="{84A5A1CF-D4D8-4DEE-82E8-21007BEBD9EB}" dt="2021-11-27T13:18:50.598" v="821" actId="1076"/>
          <ac:picMkLst>
            <pc:docMk/>
            <pc:sldMk cId="482620437" sldId="575"/>
            <ac:picMk id="5" creationId="{8563BE4A-0E76-4FA7-B48B-5A00AF1C7DC3}"/>
          </ac:picMkLst>
        </pc:picChg>
      </pc:sldChg>
      <pc:sldChg chg="new del">
        <pc:chgData name="Thomas Stensitzki" userId="75cafe6b-2f2a-469b-85c4-eec3b9c972ba" providerId="ADAL" clId="{84A5A1CF-D4D8-4DEE-82E8-21007BEBD9EB}" dt="2021-11-27T13:18:27.046" v="815" actId="680"/>
        <pc:sldMkLst>
          <pc:docMk/>
          <pc:sldMk cId="2257481309" sldId="575"/>
        </pc:sldMkLst>
      </pc:sldChg>
      <pc:sldChg chg="addSp modSp new mod modTransition">
        <pc:chgData name="Thomas Stensitzki" userId="75cafe6b-2f2a-469b-85c4-eec3b9c972ba" providerId="ADAL" clId="{84A5A1CF-D4D8-4DEE-82E8-21007BEBD9EB}" dt="2021-11-27T14:22:00.443" v="2304"/>
        <pc:sldMkLst>
          <pc:docMk/>
          <pc:sldMk cId="1228494520" sldId="576"/>
        </pc:sldMkLst>
        <pc:spChg chg="mod">
          <ac:chgData name="Thomas Stensitzki" userId="75cafe6b-2f2a-469b-85c4-eec3b9c972ba" providerId="ADAL" clId="{84A5A1CF-D4D8-4DEE-82E8-21007BEBD9EB}" dt="2021-11-27T13:23:48.006" v="875"/>
          <ac:spMkLst>
            <pc:docMk/>
            <pc:sldMk cId="1228494520" sldId="576"/>
            <ac:spMk id="2" creationId="{310768EA-3670-4F4A-B34C-3ADC84118FE1}"/>
          </ac:spMkLst>
        </pc:spChg>
        <pc:spChg chg="mod">
          <ac:chgData name="Thomas Stensitzki" userId="75cafe6b-2f2a-469b-85c4-eec3b9c972ba" providerId="ADAL" clId="{84A5A1CF-D4D8-4DEE-82E8-21007BEBD9EB}" dt="2021-11-27T13:25:41.976" v="895" actId="6549"/>
          <ac:spMkLst>
            <pc:docMk/>
            <pc:sldMk cId="1228494520" sldId="576"/>
            <ac:spMk id="3" creationId="{758C448C-20C8-49BE-B7CD-D057B6D738D1}"/>
          </ac:spMkLst>
        </pc:spChg>
        <pc:picChg chg="add mod">
          <ac:chgData name="Thomas Stensitzki" userId="75cafe6b-2f2a-469b-85c4-eec3b9c972ba" providerId="ADAL" clId="{84A5A1CF-D4D8-4DEE-82E8-21007BEBD9EB}" dt="2021-11-27T13:25:50.832" v="896" actId="1076"/>
          <ac:picMkLst>
            <pc:docMk/>
            <pc:sldMk cId="1228494520" sldId="576"/>
            <ac:picMk id="7170" creationId="{6325F552-4266-4858-A080-7D2D25C8AB1E}"/>
          </ac:picMkLst>
        </pc:picChg>
      </pc:sldChg>
      <pc:sldChg chg="modSp new mod modTransition">
        <pc:chgData name="Thomas Stensitzki" userId="75cafe6b-2f2a-469b-85c4-eec3b9c972ba" providerId="ADAL" clId="{84A5A1CF-D4D8-4DEE-82E8-21007BEBD9EB}" dt="2021-11-27T14:22:00.443" v="2304"/>
        <pc:sldMkLst>
          <pc:docMk/>
          <pc:sldMk cId="2011711741" sldId="577"/>
        </pc:sldMkLst>
        <pc:spChg chg="mod">
          <ac:chgData name="Thomas Stensitzki" userId="75cafe6b-2f2a-469b-85c4-eec3b9c972ba" providerId="ADAL" clId="{84A5A1CF-D4D8-4DEE-82E8-21007BEBD9EB}" dt="2021-11-27T13:26:34.194" v="900"/>
          <ac:spMkLst>
            <pc:docMk/>
            <pc:sldMk cId="2011711741" sldId="577"/>
            <ac:spMk id="2" creationId="{3086C23E-9466-415E-8612-4FDDE3484362}"/>
          </ac:spMkLst>
        </pc:spChg>
        <pc:spChg chg="mod">
          <ac:chgData name="Thomas Stensitzki" userId="75cafe6b-2f2a-469b-85c4-eec3b9c972ba" providerId="ADAL" clId="{84A5A1CF-D4D8-4DEE-82E8-21007BEBD9EB}" dt="2021-11-27T13:27:11.888" v="914" actId="20577"/>
          <ac:spMkLst>
            <pc:docMk/>
            <pc:sldMk cId="2011711741" sldId="577"/>
            <ac:spMk id="3" creationId="{064F690B-35B4-4A18-8E96-226650E930C4}"/>
          </ac:spMkLst>
        </pc:spChg>
      </pc:sldChg>
      <pc:sldChg chg="modSp new mod modTransition">
        <pc:chgData name="Thomas Stensitzki" userId="75cafe6b-2f2a-469b-85c4-eec3b9c972ba" providerId="ADAL" clId="{84A5A1CF-D4D8-4DEE-82E8-21007BEBD9EB}" dt="2021-11-27T14:22:00.443" v="2304"/>
        <pc:sldMkLst>
          <pc:docMk/>
          <pc:sldMk cId="4025581486" sldId="578"/>
        </pc:sldMkLst>
        <pc:spChg chg="mod">
          <ac:chgData name="Thomas Stensitzki" userId="75cafe6b-2f2a-469b-85c4-eec3b9c972ba" providerId="ADAL" clId="{84A5A1CF-D4D8-4DEE-82E8-21007BEBD9EB}" dt="2021-11-27T13:28:30.674" v="940"/>
          <ac:spMkLst>
            <pc:docMk/>
            <pc:sldMk cId="4025581486" sldId="578"/>
            <ac:spMk id="2" creationId="{380EE23A-C0B4-406C-A0C3-EC1874345BDA}"/>
          </ac:spMkLst>
        </pc:spChg>
        <pc:spChg chg="mod">
          <ac:chgData name="Thomas Stensitzki" userId="75cafe6b-2f2a-469b-85c4-eec3b9c972ba" providerId="ADAL" clId="{84A5A1CF-D4D8-4DEE-82E8-21007BEBD9EB}" dt="2021-11-27T13:31:03.733" v="997" actId="113"/>
          <ac:spMkLst>
            <pc:docMk/>
            <pc:sldMk cId="4025581486" sldId="578"/>
            <ac:spMk id="3" creationId="{A42BE06D-DB09-454D-B09B-AB3D05988720}"/>
          </ac:spMkLst>
        </pc:spChg>
      </pc:sldChg>
      <pc:sldChg chg="addSp modSp new mod modTransition">
        <pc:chgData name="Thomas Stensitzki" userId="75cafe6b-2f2a-469b-85c4-eec3b9c972ba" providerId="ADAL" clId="{84A5A1CF-D4D8-4DEE-82E8-21007BEBD9EB}" dt="2021-11-27T14:22:00.443" v="2304"/>
        <pc:sldMkLst>
          <pc:docMk/>
          <pc:sldMk cId="3181657178" sldId="579"/>
        </pc:sldMkLst>
        <pc:spChg chg="mod">
          <ac:chgData name="Thomas Stensitzki" userId="75cafe6b-2f2a-469b-85c4-eec3b9c972ba" providerId="ADAL" clId="{84A5A1CF-D4D8-4DEE-82E8-21007BEBD9EB}" dt="2021-11-27T13:34:36.805" v="1069"/>
          <ac:spMkLst>
            <pc:docMk/>
            <pc:sldMk cId="3181657178" sldId="579"/>
            <ac:spMk id="2" creationId="{B6E494BC-BF8C-484C-B658-547E0B8A10CF}"/>
          </ac:spMkLst>
        </pc:spChg>
        <pc:spChg chg="mod">
          <ac:chgData name="Thomas Stensitzki" userId="75cafe6b-2f2a-469b-85c4-eec3b9c972ba" providerId="ADAL" clId="{84A5A1CF-D4D8-4DEE-82E8-21007BEBD9EB}" dt="2021-11-27T13:40:12.353" v="1477" actId="20577"/>
          <ac:spMkLst>
            <pc:docMk/>
            <pc:sldMk cId="3181657178" sldId="579"/>
            <ac:spMk id="3" creationId="{39F0BC76-1CDB-416F-925D-D328C9A74D2D}"/>
          </ac:spMkLst>
        </pc:spChg>
        <pc:picChg chg="add mod">
          <ac:chgData name="Thomas Stensitzki" userId="75cafe6b-2f2a-469b-85c4-eec3b9c972ba" providerId="ADAL" clId="{84A5A1CF-D4D8-4DEE-82E8-21007BEBD9EB}" dt="2021-11-27T13:36:19.627" v="1130" actId="1440"/>
          <ac:picMkLst>
            <pc:docMk/>
            <pc:sldMk cId="3181657178" sldId="579"/>
            <ac:picMk id="8194" creationId="{F25E017B-D8E9-4FDD-8ED2-75D851475C1B}"/>
          </ac:picMkLst>
        </pc:picChg>
      </pc:sldChg>
      <pc:sldChg chg="modSp add mod ord modTransition">
        <pc:chgData name="Thomas Stensitzki" userId="75cafe6b-2f2a-469b-85c4-eec3b9c972ba" providerId="ADAL" clId="{84A5A1CF-D4D8-4DEE-82E8-21007BEBD9EB}" dt="2021-11-27T14:24:13.468" v="2474" actId="14100"/>
        <pc:sldMkLst>
          <pc:docMk/>
          <pc:sldMk cId="324323579" sldId="580"/>
        </pc:sldMkLst>
        <pc:spChg chg="mod">
          <ac:chgData name="Thomas Stensitzki" userId="75cafe6b-2f2a-469b-85c4-eec3b9c972ba" providerId="ADAL" clId="{84A5A1CF-D4D8-4DEE-82E8-21007BEBD9EB}" dt="2021-11-27T14:24:13.468" v="2474" actId="14100"/>
          <ac:spMkLst>
            <pc:docMk/>
            <pc:sldMk cId="324323579" sldId="580"/>
            <ac:spMk id="2" creationId="{909DC09D-B9A6-4493-9A72-1CA7ECB1F5CA}"/>
          </ac:spMkLst>
        </pc:spChg>
        <pc:spChg chg="mod">
          <ac:chgData name="Thomas Stensitzki" userId="75cafe6b-2f2a-469b-85c4-eec3b9c972ba" providerId="ADAL" clId="{84A5A1CF-D4D8-4DEE-82E8-21007BEBD9EB}" dt="2021-11-27T14:15:25.778" v="1957" actId="255"/>
          <ac:spMkLst>
            <pc:docMk/>
            <pc:sldMk cId="324323579" sldId="580"/>
            <ac:spMk id="5" creationId="{C24DACB5-1BEC-4C86-9652-BAFD8DE56FEF}"/>
          </ac:spMkLst>
        </pc:spChg>
      </pc:sldChg>
      <pc:sldChg chg="modSp new mod modTransition">
        <pc:chgData name="Thomas Stensitzki" userId="75cafe6b-2f2a-469b-85c4-eec3b9c972ba" providerId="ADAL" clId="{84A5A1CF-D4D8-4DEE-82E8-21007BEBD9EB}" dt="2021-11-27T14:22:00.443" v="2304"/>
        <pc:sldMkLst>
          <pc:docMk/>
          <pc:sldMk cId="3981601369" sldId="581"/>
        </pc:sldMkLst>
        <pc:spChg chg="mod">
          <ac:chgData name="Thomas Stensitzki" userId="75cafe6b-2f2a-469b-85c4-eec3b9c972ba" providerId="ADAL" clId="{84A5A1CF-D4D8-4DEE-82E8-21007BEBD9EB}" dt="2021-11-27T13:47:10.439" v="1595"/>
          <ac:spMkLst>
            <pc:docMk/>
            <pc:sldMk cId="3981601369" sldId="581"/>
            <ac:spMk id="2" creationId="{D00A5901-5A14-4C11-A979-39E48CD7D350}"/>
          </ac:spMkLst>
        </pc:spChg>
        <pc:spChg chg="mod">
          <ac:chgData name="Thomas Stensitzki" userId="75cafe6b-2f2a-469b-85c4-eec3b9c972ba" providerId="ADAL" clId="{84A5A1CF-D4D8-4DEE-82E8-21007BEBD9EB}" dt="2021-11-27T13:49:07.237" v="1624" actId="6549"/>
          <ac:spMkLst>
            <pc:docMk/>
            <pc:sldMk cId="3981601369" sldId="581"/>
            <ac:spMk id="3" creationId="{D8005E1A-1EF7-4C37-9FB0-E65A8BB83E31}"/>
          </ac:spMkLst>
        </pc:spChg>
      </pc:sldChg>
      <pc:sldChg chg="addSp modSp new mod modTransition">
        <pc:chgData name="Thomas Stensitzki" userId="75cafe6b-2f2a-469b-85c4-eec3b9c972ba" providerId="ADAL" clId="{84A5A1CF-D4D8-4DEE-82E8-21007BEBD9EB}" dt="2021-11-27T14:22:00.443" v="2304"/>
        <pc:sldMkLst>
          <pc:docMk/>
          <pc:sldMk cId="2226521450" sldId="582"/>
        </pc:sldMkLst>
        <pc:spChg chg="mod">
          <ac:chgData name="Thomas Stensitzki" userId="75cafe6b-2f2a-469b-85c4-eec3b9c972ba" providerId="ADAL" clId="{84A5A1CF-D4D8-4DEE-82E8-21007BEBD9EB}" dt="2021-11-27T13:50:49.437" v="1650"/>
          <ac:spMkLst>
            <pc:docMk/>
            <pc:sldMk cId="2226521450" sldId="582"/>
            <ac:spMk id="2" creationId="{E510326A-15EA-4CFB-A51E-E2462B207D51}"/>
          </ac:spMkLst>
        </pc:spChg>
        <pc:spChg chg="mod">
          <ac:chgData name="Thomas Stensitzki" userId="75cafe6b-2f2a-469b-85c4-eec3b9c972ba" providerId="ADAL" clId="{84A5A1CF-D4D8-4DEE-82E8-21007BEBD9EB}" dt="2021-11-27T13:59:02.148" v="1719" actId="20577"/>
          <ac:spMkLst>
            <pc:docMk/>
            <pc:sldMk cId="2226521450" sldId="582"/>
            <ac:spMk id="3" creationId="{825B01B9-674E-4EFE-BF44-7F89DD460473}"/>
          </ac:spMkLst>
        </pc:spChg>
        <pc:picChg chg="add mod">
          <ac:chgData name="Thomas Stensitzki" userId="75cafe6b-2f2a-469b-85c4-eec3b9c972ba" providerId="ADAL" clId="{84A5A1CF-D4D8-4DEE-82E8-21007BEBD9EB}" dt="2021-11-27T13:52:20.844" v="1655" actId="1076"/>
          <ac:picMkLst>
            <pc:docMk/>
            <pc:sldMk cId="2226521450" sldId="582"/>
            <ac:picMk id="9218" creationId="{F32A7A4F-EEBC-4AAB-8FF2-5C8EA01285B5}"/>
          </ac:picMkLst>
        </pc:picChg>
      </pc:sldChg>
      <pc:sldChg chg="addSp delSp modSp new mod modTransition">
        <pc:chgData name="Thomas Stensitzki" userId="75cafe6b-2f2a-469b-85c4-eec3b9c972ba" providerId="ADAL" clId="{84A5A1CF-D4D8-4DEE-82E8-21007BEBD9EB}" dt="2021-11-27T14:22:00.443" v="2304"/>
        <pc:sldMkLst>
          <pc:docMk/>
          <pc:sldMk cId="3960845148" sldId="583"/>
        </pc:sldMkLst>
        <pc:spChg chg="mod">
          <ac:chgData name="Thomas Stensitzki" userId="75cafe6b-2f2a-469b-85c4-eec3b9c972ba" providerId="ADAL" clId="{84A5A1CF-D4D8-4DEE-82E8-21007BEBD9EB}" dt="2021-11-27T14:00:01.801" v="1736"/>
          <ac:spMkLst>
            <pc:docMk/>
            <pc:sldMk cId="3960845148" sldId="583"/>
            <ac:spMk id="2" creationId="{2C33EC19-EF1B-41DC-A69D-69296D41BFDC}"/>
          </ac:spMkLst>
        </pc:spChg>
        <pc:spChg chg="del">
          <ac:chgData name="Thomas Stensitzki" userId="75cafe6b-2f2a-469b-85c4-eec3b9c972ba" providerId="ADAL" clId="{84A5A1CF-D4D8-4DEE-82E8-21007BEBD9EB}" dt="2021-11-27T14:00:58.436" v="1737" actId="478"/>
          <ac:spMkLst>
            <pc:docMk/>
            <pc:sldMk cId="3960845148" sldId="583"/>
            <ac:spMk id="3" creationId="{6AC854B4-3E15-4DEA-94EB-BE6DFCD6C2B4}"/>
          </ac:spMkLst>
        </pc:spChg>
        <pc:spChg chg="add del">
          <ac:chgData name="Thomas Stensitzki" userId="75cafe6b-2f2a-469b-85c4-eec3b9c972ba" providerId="ADAL" clId="{84A5A1CF-D4D8-4DEE-82E8-21007BEBD9EB}" dt="2021-11-27T14:01:25.865" v="1742" actId="22"/>
          <ac:spMkLst>
            <pc:docMk/>
            <pc:sldMk cId="3960845148" sldId="583"/>
            <ac:spMk id="6" creationId="{9ABAD5F7-2C1E-423F-8D88-1E7CCF0E5745}"/>
          </ac:spMkLst>
        </pc:spChg>
        <pc:picChg chg="add mod">
          <ac:chgData name="Thomas Stensitzki" userId="75cafe6b-2f2a-469b-85c4-eec3b9c972ba" providerId="ADAL" clId="{84A5A1CF-D4D8-4DEE-82E8-21007BEBD9EB}" dt="2021-11-27T14:03:09.383" v="1762" actId="1076"/>
          <ac:picMkLst>
            <pc:docMk/>
            <pc:sldMk cId="3960845148" sldId="583"/>
            <ac:picMk id="10242" creationId="{35481FB9-A468-46B6-90EC-7BE012AD9AAD}"/>
          </ac:picMkLst>
        </pc:picChg>
        <pc:picChg chg="add mod">
          <ac:chgData name="Thomas Stensitzki" userId="75cafe6b-2f2a-469b-85c4-eec3b9c972ba" providerId="ADAL" clId="{84A5A1CF-D4D8-4DEE-82E8-21007BEBD9EB}" dt="2021-11-27T14:03:05.684" v="1761" actId="1076"/>
          <ac:picMkLst>
            <pc:docMk/>
            <pc:sldMk cId="3960845148" sldId="583"/>
            <ac:picMk id="10244" creationId="{8DE094ED-4133-41B2-BAD9-43DF77C01DA5}"/>
          </ac:picMkLst>
        </pc:picChg>
        <pc:picChg chg="add mod">
          <ac:chgData name="Thomas Stensitzki" userId="75cafe6b-2f2a-469b-85c4-eec3b9c972ba" providerId="ADAL" clId="{84A5A1CF-D4D8-4DEE-82E8-21007BEBD9EB}" dt="2021-11-27T14:02:58.642" v="1760" actId="1076"/>
          <ac:picMkLst>
            <pc:docMk/>
            <pc:sldMk cId="3960845148" sldId="583"/>
            <ac:picMk id="10246" creationId="{430198DE-2A61-4713-9F9D-B06C4E4F7399}"/>
          </ac:picMkLst>
        </pc:picChg>
      </pc:sldChg>
      <pc:sldChg chg="modSp add mod ord modTransition">
        <pc:chgData name="Thomas Stensitzki" userId="75cafe6b-2f2a-469b-85c4-eec3b9c972ba" providerId="ADAL" clId="{84A5A1CF-D4D8-4DEE-82E8-21007BEBD9EB}" dt="2021-11-27T14:22:00.443" v="2304"/>
        <pc:sldMkLst>
          <pc:docMk/>
          <pc:sldMk cId="2871808218" sldId="584"/>
        </pc:sldMkLst>
        <pc:spChg chg="mod">
          <ac:chgData name="Thomas Stensitzki" userId="75cafe6b-2f2a-469b-85c4-eec3b9c972ba" providerId="ADAL" clId="{84A5A1CF-D4D8-4DEE-82E8-21007BEBD9EB}" dt="2021-11-27T14:17:12.281" v="1975" actId="14100"/>
          <ac:spMkLst>
            <pc:docMk/>
            <pc:sldMk cId="2871808218" sldId="584"/>
            <ac:spMk id="2" creationId="{909DC09D-B9A6-4493-9A72-1CA7ECB1F5CA}"/>
          </ac:spMkLst>
        </pc:spChg>
        <pc:spChg chg="mod">
          <ac:chgData name="Thomas Stensitzki" userId="75cafe6b-2f2a-469b-85c4-eec3b9c972ba" providerId="ADAL" clId="{84A5A1CF-D4D8-4DEE-82E8-21007BEBD9EB}" dt="2021-11-27T14:17:07.632" v="1974" actId="20577"/>
          <ac:spMkLst>
            <pc:docMk/>
            <pc:sldMk cId="2871808218" sldId="584"/>
            <ac:spMk id="5" creationId="{C24DACB5-1BEC-4C86-9652-BAFD8DE56FEF}"/>
          </ac:spMkLst>
        </pc:spChg>
      </pc:sldChg>
      <pc:sldChg chg="addSp modSp new mod modTransition">
        <pc:chgData name="Thomas Stensitzki" userId="75cafe6b-2f2a-469b-85c4-eec3b9c972ba" providerId="ADAL" clId="{84A5A1CF-D4D8-4DEE-82E8-21007BEBD9EB}" dt="2021-11-27T14:22:00.443" v="2304"/>
        <pc:sldMkLst>
          <pc:docMk/>
          <pc:sldMk cId="180834030" sldId="585"/>
        </pc:sldMkLst>
        <pc:spChg chg="mod">
          <ac:chgData name="Thomas Stensitzki" userId="75cafe6b-2f2a-469b-85c4-eec3b9c972ba" providerId="ADAL" clId="{84A5A1CF-D4D8-4DEE-82E8-21007BEBD9EB}" dt="2021-11-27T14:07:09.424" v="1824"/>
          <ac:spMkLst>
            <pc:docMk/>
            <pc:sldMk cId="180834030" sldId="585"/>
            <ac:spMk id="2" creationId="{E8DB5779-710D-47B7-BEE0-A2BD7EFC4B91}"/>
          </ac:spMkLst>
        </pc:spChg>
        <pc:spChg chg="mod">
          <ac:chgData name="Thomas Stensitzki" userId="75cafe6b-2f2a-469b-85c4-eec3b9c972ba" providerId="ADAL" clId="{84A5A1CF-D4D8-4DEE-82E8-21007BEBD9EB}" dt="2021-11-27T14:07:42.191" v="1871" actId="20577"/>
          <ac:spMkLst>
            <pc:docMk/>
            <pc:sldMk cId="180834030" sldId="585"/>
            <ac:spMk id="3" creationId="{B9A288B9-3A87-4AE9-A4F2-653B4EF45367}"/>
          </ac:spMkLst>
        </pc:spChg>
        <pc:picChg chg="add mod">
          <ac:chgData name="Thomas Stensitzki" userId="75cafe6b-2f2a-469b-85c4-eec3b9c972ba" providerId="ADAL" clId="{84A5A1CF-D4D8-4DEE-82E8-21007BEBD9EB}" dt="2021-11-27T14:08:13.808" v="1876" actId="1440"/>
          <ac:picMkLst>
            <pc:docMk/>
            <pc:sldMk cId="180834030" sldId="585"/>
            <ac:picMk id="11266" creationId="{274DE652-CAF4-45CE-B60A-B83D8A719A2C}"/>
          </ac:picMkLst>
        </pc:picChg>
      </pc:sldChg>
      <pc:sldChg chg="addSp delSp modSp new mod modTransition">
        <pc:chgData name="Thomas Stensitzki" userId="75cafe6b-2f2a-469b-85c4-eec3b9c972ba" providerId="ADAL" clId="{84A5A1CF-D4D8-4DEE-82E8-21007BEBD9EB}" dt="2021-11-27T14:22:00.443" v="2304"/>
        <pc:sldMkLst>
          <pc:docMk/>
          <pc:sldMk cId="3096191333" sldId="586"/>
        </pc:sldMkLst>
        <pc:spChg chg="mod">
          <ac:chgData name="Thomas Stensitzki" userId="75cafe6b-2f2a-469b-85c4-eec3b9c972ba" providerId="ADAL" clId="{84A5A1CF-D4D8-4DEE-82E8-21007BEBD9EB}" dt="2021-11-27T14:11:38.062" v="1920"/>
          <ac:spMkLst>
            <pc:docMk/>
            <pc:sldMk cId="3096191333" sldId="586"/>
            <ac:spMk id="2" creationId="{78748F36-1DF5-41F2-9E1C-0A31A41DB543}"/>
          </ac:spMkLst>
        </pc:spChg>
        <pc:spChg chg="del">
          <ac:chgData name="Thomas Stensitzki" userId="75cafe6b-2f2a-469b-85c4-eec3b9c972ba" providerId="ADAL" clId="{84A5A1CF-D4D8-4DEE-82E8-21007BEBD9EB}" dt="2021-11-27T14:11:40.732" v="1921" actId="478"/>
          <ac:spMkLst>
            <pc:docMk/>
            <pc:sldMk cId="3096191333" sldId="586"/>
            <ac:spMk id="3" creationId="{3CF01E57-C6F5-4DDA-9DDB-1EFFE2DB8090}"/>
          </ac:spMkLst>
        </pc:spChg>
        <pc:picChg chg="add mod">
          <ac:chgData name="Thomas Stensitzki" userId="75cafe6b-2f2a-469b-85c4-eec3b9c972ba" providerId="ADAL" clId="{84A5A1CF-D4D8-4DEE-82E8-21007BEBD9EB}" dt="2021-11-27T14:12:10.837" v="1929" actId="1440"/>
          <ac:picMkLst>
            <pc:docMk/>
            <pc:sldMk cId="3096191333" sldId="586"/>
            <ac:picMk id="12290" creationId="{57FE6E95-E038-4854-B045-ADEB442E203A}"/>
          </ac:picMkLst>
        </pc:picChg>
      </pc:sldChg>
      <pc:sldChg chg="modSp add mod modTransition">
        <pc:chgData name="Thomas Stensitzki" userId="75cafe6b-2f2a-469b-85c4-eec3b9c972ba" providerId="ADAL" clId="{84A5A1CF-D4D8-4DEE-82E8-21007BEBD9EB}" dt="2021-11-27T14:22:00.443" v="2304"/>
        <pc:sldMkLst>
          <pc:docMk/>
          <pc:sldMk cId="3386111181" sldId="587"/>
        </pc:sldMkLst>
        <pc:spChg chg="mod">
          <ac:chgData name="Thomas Stensitzki" userId="75cafe6b-2f2a-469b-85c4-eec3b9c972ba" providerId="ADAL" clId="{84A5A1CF-D4D8-4DEE-82E8-21007BEBD9EB}" dt="2021-11-27T14:17:22.057" v="1978" actId="14100"/>
          <ac:spMkLst>
            <pc:docMk/>
            <pc:sldMk cId="3386111181" sldId="587"/>
            <ac:spMk id="2" creationId="{909DC09D-B9A6-4493-9A72-1CA7ECB1F5CA}"/>
          </ac:spMkLst>
        </pc:spChg>
      </pc:sldChg>
      <pc:sldChg chg="modSp add mod modTransition">
        <pc:chgData name="Thomas Stensitzki" userId="75cafe6b-2f2a-469b-85c4-eec3b9c972ba" providerId="ADAL" clId="{84A5A1CF-D4D8-4DEE-82E8-21007BEBD9EB}" dt="2021-11-27T14:22:00.443" v="2304"/>
        <pc:sldMkLst>
          <pc:docMk/>
          <pc:sldMk cId="3088514375" sldId="588"/>
        </pc:sldMkLst>
        <pc:spChg chg="mod">
          <ac:chgData name="Thomas Stensitzki" userId="75cafe6b-2f2a-469b-85c4-eec3b9c972ba" providerId="ADAL" clId="{84A5A1CF-D4D8-4DEE-82E8-21007BEBD9EB}" dt="2021-11-27T14:18:32.281" v="2024" actId="1035"/>
          <ac:spMkLst>
            <pc:docMk/>
            <pc:sldMk cId="3088514375" sldId="588"/>
            <ac:spMk id="2" creationId="{909DC09D-B9A6-4493-9A72-1CA7ECB1F5CA}"/>
          </ac:spMkLst>
        </pc:spChg>
        <pc:spChg chg="mod">
          <ac:chgData name="Thomas Stensitzki" userId="75cafe6b-2f2a-469b-85c4-eec3b9c972ba" providerId="ADAL" clId="{84A5A1CF-D4D8-4DEE-82E8-21007BEBD9EB}" dt="2021-11-27T14:18:35.407" v="2026" actId="20577"/>
          <ac:spMkLst>
            <pc:docMk/>
            <pc:sldMk cId="3088514375" sldId="588"/>
            <ac:spMk id="5" creationId="{C24DACB5-1BEC-4C86-9652-BAFD8DE56FEF}"/>
          </ac:spMkLst>
        </pc:spChg>
      </pc:sldChg>
      <pc:sldChg chg="modSp add mod ord modTransition">
        <pc:chgData name="Thomas Stensitzki" userId="75cafe6b-2f2a-469b-85c4-eec3b9c972ba" providerId="ADAL" clId="{84A5A1CF-D4D8-4DEE-82E8-21007BEBD9EB}" dt="2021-11-27T14:22:00.443" v="2304"/>
        <pc:sldMkLst>
          <pc:docMk/>
          <pc:sldMk cId="1790374027" sldId="589"/>
        </pc:sldMkLst>
        <pc:spChg chg="mod">
          <ac:chgData name="Thomas Stensitzki" userId="75cafe6b-2f2a-469b-85c4-eec3b9c972ba" providerId="ADAL" clId="{84A5A1CF-D4D8-4DEE-82E8-21007BEBD9EB}" dt="2021-11-27T14:19:04.818" v="2059" actId="1035"/>
          <ac:spMkLst>
            <pc:docMk/>
            <pc:sldMk cId="1790374027" sldId="589"/>
            <ac:spMk id="2" creationId="{909DC09D-B9A6-4493-9A72-1CA7ECB1F5CA}"/>
          </ac:spMkLst>
        </pc:spChg>
      </pc:sldChg>
      <pc:sldChg chg="modSp add mod modTransition">
        <pc:chgData name="Thomas Stensitzki" userId="75cafe6b-2f2a-469b-85c4-eec3b9c972ba" providerId="ADAL" clId="{84A5A1CF-D4D8-4DEE-82E8-21007BEBD9EB}" dt="2021-11-27T14:22:00.443" v="2304"/>
        <pc:sldMkLst>
          <pc:docMk/>
          <pc:sldMk cId="918908708" sldId="590"/>
        </pc:sldMkLst>
        <pc:spChg chg="mod">
          <ac:chgData name="Thomas Stensitzki" userId="75cafe6b-2f2a-469b-85c4-eec3b9c972ba" providerId="ADAL" clId="{84A5A1CF-D4D8-4DEE-82E8-21007BEBD9EB}" dt="2021-11-27T14:19:38.173" v="2125" actId="14100"/>
          <ac:spMkLst>
            <pc:docMk/>
            <pc:sldMk cId="918908708" sldId="590"/>
            <ac:spMk id="2" creationId="{909DC09D-B9A6-4493-9A72-1CA7ECB1F5CA}"/>
          </ac:spMkLst>
        </pc:spChg>
      </pc:sldChg>
      <pc:sldChg chg="modSp add mod modTransition">
        <pc:chgData name="Thomas Stensitzki" userId="75cafe6b-2f2a-469b-85c4-eec3b9c972ba" providerId="ADAL" clId="{84A5A1CF-D4D8-4DEE-82E8-21007BEBD9EB}" dt="2021-11-27T14:22:00.443" v="2304"/>
        <pc:sldMkLst>
          <pc:docMk/>
          <pc:sldMk cId="454032179" sldId="591"/>
        </pc:sldMkLst>
        <pc:spChg chg="mod">
          <ac:chgData name="Thomas Stensitzki" userId="75cafe6b-2f2a-469b-85c4-eec3b9c972ba" providerId="ADAL" clId="{84A5A1CF-D4D8-4DEE-82E8-21007BEBD9EB}" dt="2021-11-27T14:19:25.306" v="2099" actId="1036"/>
          <ac:spMkLst>
            <pc:docMk/>
            <pc:sldMk cId="454032179" sldId="591"/>
            <ac:spMk id="2" creationId="{909DC09D-B9A6-4493-9A72-1CA7ECB1F5CA}"/>
          </ac:spMkLst>
        </pc:spChg>
      </pc:sldChg>
      <pc:sldChg chg="modSp add mod ord modTransition">
        <pc:chgData name="Thomas Stensitzki" userId="75cafe6b-2f2a-469b-85c4-eec3b9c972ba" providerId="ADAL" clId="{84A5A1CF-D4D8-4DEE-82E8-21007BEBD9EB}" dt="2021-11-27T14:22:00.443" v="2304"/>
        <pc:sldMkLst>
          <pc:docMk/>
          <pc:sldMk cId="999287501" sldId="592"/>
        </pc:sldMkLst>
        <pc:spChg chg="mod">
          <ac:chgData name="Thomas Stensitzki" userId="75cafe6b-2f2a-469b-85c4-eec3b9c972ba" providerId="ADAL" clId="{84A5A1CF-D4D8-4DEE-82E8-21007BEBD9EB}" dt="2021-11-27T14:20:44.068" v="2152" actId="14100"/>
          <ac:spMkLst>
            <pc:docMk/>
            <pc:sldMk cId="999287501" sldId="592"/>
            <ac:spMk id="2" creationId="{909DC09D-B9A6-4493-9A72-1CA7ECB1F5CA}"/>
          </ac:spMkLst>
        </pc:spChg>
      </pc:sldChg>
      <pc:sldChg chg="modSp add mod ord modTransition">
        <pc:chgData name="Thomas Stensitzki" userId="75cafe6b-2f2a-469b-85c4-eec3b9c972ba" providerId="ADAL" clId="{84A5A1CF-D4D8-4DEE-82E8-21007BEBD9EB}" dt="2021-11-27T14:22:00.443" v="2304"/>
        <pc:sldMkLst>
          <pc:docMk/>
          <pc:sldMk cId="216933282" sldId="593"/>
        </pc:sldMkLst>
        <pc:spChg chg="mod">
          <ac:chgData name="Thomas Stensitzki" userId="75cafe6b-2f2a-469b-85c4-eec3b9c972ba" providerId="ADAL" clId="{84A5A1CF-D4D8-4DEE-82E8-21007BEBD9EB}" dt="2021-11-27T14:21:02.006" v="2205" actId="1036"/>
          <ac:spMkLst>
            <pc:docMk/>
            <pc:sldMk cId="216933282" sldId="593"/>
            <ac:spMk id="2" creationId="{909DC09D-B9A6-4493-9A72-1CA7ECB1F5CA}"/>
          </ac:spMkLst>
        </pc:spChg>
      </pc:sldChg>
      <pc:sldChg chg="modSp add mod ord modTransition">
        <pc:chgData name="Thomas Stensitzki" userId="75cafe6b-2f2a-469b-85c4-eec3b9c972ba" providerId="ADAL" clId="{84A5A1CF-D4D8-4DEE-82E8-21007BEBD9EB}" dt="2021-11-27T14:22:00.443" v="2304"/>
        <pc:sldMkLst>
          <pc:docMk/>
          <pc:sldMk cId="1858708233" sldId="594"/>
        </pc:sldMkLst>
        <pc:spChg chg="mod">
          <ac:chgData name="Thomas Stensitzki" userId="75cafe6b-2f2a-469b-85c4-eec3b9c972ba" providerId="ADAL" clId="{84A5A1CF-D4D8-4DEE-82E8-21007BEBD9EB}" dt="2021-11-27T14:21:20.618" v="2228" actId="14100"/>
          <ac:spMkLst>
            <pc:docMk/>
            <pc:sldMk cId="1858708233" sldId="594"/>
            <ac:spMk id="2" creationId="{909DC09D-B9A6-4493-9A72-1CA7ECB1F5CA}"/>
          </ac:spMkLst>
        </pc:spChg>
      </pc:sldChg>
      <pc:sldChg chg="modSp add mod ord modTransition">
        <pc:chgData name="Thomas Stensitzki" userId="75cafe6b-2f2a-469b-85c4-eec3b9c972ba" providerId="ADAL" clId="{84A5A1CF-D4D8-4DEE-82E8-21007BEBD9EB}" dt="2021-11-27T14:22:00.443" v="2304"/>
        <pc:sldMkLst>
          <pc:docMk/>
          <pc:sldMk cId="3220276594" sldId="595"/>
        </pc:sldMkLst>
        <pc:spChg chg="mod">
          <ac:chgData name="Thomas Stensitzki" userId="75cafe6b-2f2a-469b-85c4-eec3b9c972ba" providerId="ADAL" clId="{84A5A1CF-D4D8-4DEE-82E8-21007BEBD9EB}" dt="2021-11-27T14:21:33.092" v="2262" actId="1036"/>
          <ac:spMkLst>
            <pc:docMk/>
            <pc:sldMk cId="3220276594" sldId="595"/>
            <ac:spMk id="2" creationId="{909DC09D-B9A6-4493-9A72-1CA7ECB1F5CA}"/>
          </ac:spMkLst>
        </pc:spChg>
      </pc:sldChg>
      <pc:sldChg chg="modSp add mod modTransition">
        <pc:chgData name="Thomas Stensitzki" userId="75cafe6b-2f2a-469b-85c4-eec3b9c972ba" providerId="ADAL" clId="{84A5A1CF-D4D8-4DEE-82E8-21007BEBD9EB}" dt="2021-11-27T14:22:00.443" v="2304"/>
        <pc:sldMkLst>
          <pc:docMk/>
          <pc:sldMk cId="1052203246" sldId="596"/>
        </pc:sldMkLst>
        <pc:spChg chg="mod">
          <ac:chgData name="Thomas Stensitzki" userId="75cafe6b-2f2a-469b-85c4-eec3b9c972ba" providerId="ADAL" clId="{84A5A1CF-D4D8-4DEE-82E8-21007BEBD9EB}" dt="2021-11-27T14:21:43.352" v="2283" actId="1035"/>
          <ac:spMkLst>
            <pc:docMk/>
            <pc:sldMk cId="1052203246" sldId="596"/>
            <ac:spMk id="2" creationId="{909DC09D-B9A6-4493-9A72-1CA7ECB1F5CA}"/>
          </ac:spMkLst>
        </pc:spChg>
      </pc:sldChg>
      <pc:sldChg chg="modSp add mod ord modTransition">
        <pc:chgData name="Thomas Stensitzki" userId="75cafe6b-2f2a-469b-85c4-eec3b9c972ba" providerId="ADAL" clId="{84A5A1CF-D4D8-4DEE-82E8-21007BEBD9EB}" dt="2021-11-27T14:22:00.443" v="2304"/>
        <pc:sldMkLst>
          <pc:docMk/>
          <pc:sldMk cId="3073976506" sldId="597"/>
        </pc:sldMkLst>
        <pc:spChg chg="mod">
          <ac:chgData name="Thomas Stensitzki" userId="75cafe6b-2f2a-469b-85c4-eec3b9c972ba" providerId="ADAL" clId="{84A5A1CF-D4D8-4DEE-82E8-21007BEBD9EB}" dt="2021-11-27T14:21:54.762" v="2303" actId="1036"/>
          <ac:spMkLst>
            <pc:docMk/>
            <pc:sldMk cId="3073976506" sldId="597"/>
            <ac:spMk id="2" creationId="{909DC09D-B9A6-4493-9A72-1CA7ECB1F5CA}"/>
          </ac:spMkLst>
        </pc:spChg>
      </pc:sldChg>
      <pc:sldChg chg="modSp add mod ord">
        <pc:chgData name="Thomas Stensitzki" userId="75cafe6b-2f2a-469b-85c4-eec3b9c972ba" providerId="ADAL" clId="{84A5A1CF-D4D8-4DEE-82E8-21007BEBD9EB}" dt="2021-11-27T14:22:54.095" v="2334" actId="1036"/>
        <pc:sldMkLst>
          <pc:docMk/>
          <pc:sldMk cId="1359738840" sldId="598"/>
        </pc:sldMkLst>
        <pc:spChg chg="mod">
          <ac:chgData name="Thomas Stensitzki" userId="75cafe6b-2f2a-469b-85c4-eec3b9c972ba" providerId="ADAL" clId="{84A5A1CF-D4D8-4DEE-82E8-21007BEBD9EB}" dt="2021-11-27T14:22:54.095" v="2334" actId="1036"/>
          <ac:spMkLst>
            <pc:docMk/>
            <pc:sldMk cId="1359738840" sldId="598"/>
            <ac:spMk id="2" creationId="{909DC09D-B9A6-4493-9A72-1CA7ECB1F5CA}"/>
          </ac:spMkLst>
        </pc:spChg>
      </pc:sldChg>
      <pc:sldChg chg="modSp add mod ord">
        <pc:chgData name="Thomas Stensitzki" userId="75cafe6b-2f2a-469b-85c4-eec3b9c972ba" providerId="ADAL" clId="{84A5A1CF-D4D8-4DEE-82E8-21007BEBD9EB}" dt="2021-11-27T14:23:05.860" v="2358" actId="1035"/>
        <pc:sldMkLst>
          <pc:docMk/>
          <pc:sldMk cId="497042959" sldId="599"/>
        </pc:sldMkLst>
        <pc:spChg chg="mod">
          <ac:chgData name="Thomas Stensitzki" userId="75cafe6b-2f2a-469b-85c4-eec3b9c972ba" providerId="ADAL" clId="{84A5A1CF-D4D8-4DEE-82E8-21007BEBD9EB}" dt="2021-11-27T14:23:05.860" v="2358" actId="1035"/>
          <ac:spMkLst>
            <pc:docMk/>
            <pc:sldMk cId="497042959" sldId="599"/>
            <ac:spMk id="2" creationId="{909DC09D-B9A6-4493-9A72-1CA7ECB1F5CA}"/>
          </ac:spMkLst>
        </pc:spChg>
      </pc:sldChg>
      <pc:sldChg chg="modSp add mod ord">
        <pc:chgData name="Thomas Stensitzki" userId="75cafe6b-2f2a-469b-85c4-eec3b9c972ba" providerId="ADAL" clId="{84A5A1CF-D4D8-4DEE-82E8-21007BEBD9EB}" dt="2021-11-27T14:23:20.736" v="2397" actId="1036"/>
        <pc:sldMkLst>
          <pc:docMk/>
          <pc:sldMk cId="3647128677" sldId="600"/>
        </pc:sldMkLst>
        <pc:spChg chg="mod">
          <ac:chgData name="Thomas Stensitzki" userId="75cafe6b-2f2a-469b-85c4-eec3b9c972ba" providerId="ADAL" clId="{84A5A1CF-D4D8-4DEE-82E8-21007BEBD9EB}" dt="2021-11-27T14:23:20.736" v="2397" actId="1036"/>
          <ac:spMkLst>
            <pc:docMk/>
            <pc:sldMk cId="3647128677" sldId="600"/>
            <ac:spMk id="2" creationId="{909DC09D-B9A6-4493-9A72-1CA7ECB1F5CA}"/>
          </ac:spMkLst>
        </pc:spChg>
      </pc:sldChg>
      <pc:sldChg chg="modSp add mod ord">
        <pc:chgData name="Thomas Stensitzki" userId="75cafe6b-2f2a-469b-85c4-eec3b9c972ba" providerId="ADAL" clId="{84A5A1CF-D4D8-4DEE-82E8-21007BEBD9EB}" dt="2021-11-27T14:23:30.821" v="2425" actId="1035"/>
        <pc:sldMkLst>
          <pc:docMk/>
          <pc:sldMk cId="2742369230" sldId="601"/>
        </pc:sldMkLst>
        <pc:spChg chg="mod">
          <ac:chgData name="Thomas Stensitzki" userId="75cafe6b-2f2a-469b-85c4-eec3b9c972ba" providerId="ADAL" clId="{84A5A1CF-D4D8-4DEE-82E8-21007BEBD9EB}" dt="2021-11-27T14:23:30.821" v="2425" actId="1035"/>
          <ac:spMkLst>
            <pc:docMk/>
            <pc:sldMk cId="2742369230" sldId="601"/>
            <ac:spMk id="2" creationId="{909DC09D-B9A6-4493-9A72-1CA7ECB1F5CA}"/>
          </ac:spMkLst>
        </pc:spChg>
      </pc:sldChg>
      <pc:sldChg chg="modSp add mod ord">
        <pc:chgData name="Thomas Stensitzki" userId="75cafe6b-2f2a-469b-85c4-eec3b9c972ba" providerId="ADAL" clId="{84A5A1CF-D4D8-4DEE-82E8-21007BEBD9EB}" dt="2021-11-27T14:23:41.830" v="2446" actId="1036"/>
        <pc:sldMkLst>
          <pc:docMk/>
          <pc:sldMk cId="525318874" sldId="602"/>
        </pc:sldMkLst>
        <pc:spChg chg="mod">
          <ac:chgData name="Thomas Stensitzki" userId="75cafe6b-2f2a-469b-85c4-eec3b9c972ba" providerId="ADAL" clId="{84A5A1CF-D4D8-4DEE-82E8-21007BEBD9EB}" dt="2021-11-27T14:23:41.830" v="2446" actId="1036"/>
          <ac:spMkLst>
            <pc:docMk/>
            <pc:sldMk cId="525318874" sldId="602"/>
            <ac:spMk id="2" creationId="{909DC09D-B9A6-4493-9A72-1CA7ECB1F5CA}"/>
          </ac:spMkLst>
        </pc:spChg>
      </pc:sldChg>
      <pc:sldChg chg="modSp add mod ord">
        <pc:chgData name="Thomas Stensitzki" userId="75cafe6b-2f2a-469b-85c4-eec3b9c972ba" providerId="ADAL" clId="{84A5A1CF-D4D8-4DEE-82E8-21007BEBD9EB}" dt="2021-11-27T14:23:59.425" v="2472" actId="14100"/>
        <pc:sldMkLst>
          <pc:docMk/>
          <pc:sldMk cId="4145302730" sldId="603"/>
        </pc:sldMkLst>
        <pc:spChg chg="mod">
          <ac:chgData name="Thomas Stensitzki" userId="75cafe6b-2f2a-469b-85c4-eec3b9c972ba" providerId="ADAL" clId="{84A5A1CF-D4D8-4DEE-82E8-21007BEBD9EB}" dt="2021-11-27T14:23:59.425" v="2472" actId="14100"/>
          <ac:spMkLst>
            <pc:docMk/>
            <pc:sldMk cId="4145302730" sldId="603"/>
            <ac:spMk id="2" creationId="{909DC09D-B9A6-4493-9A72-1CA7ECB1F5CA}"/>
          </ac:spMkLst>
        </pc:spChg>
      </pc:sldChg>
      <pc:sldChg chg="modSp add mod">
        <pc:chgData name="Thomas Stensitzki" userId="75cafe6b-2f2a-469b-85c4-eec3b9c972ba" providerId="ADAL" clId="{84A5A1CF-D4D8-4DEE-82E8-21007BEBD9EB}" dt="2021-11-27T14:24:31.639" v="2501" actId="1036"/>
        <pc:sldMkLst>
          <pc:docMk/>
          <pc:sldMk cId="166632333" sldId="604"/>
        </pc:sldMkLst>
        <pc:spChg chg="mod">
          <ac:chgData name="Thomas Stensitzki" userId="75cafe6b-2f2a-469b-85c4-eec3b9c972ba" providerId="ADAL" clId="{84A5A1CF-D4D8-4DEE-82E8-21007BEBD9EB}" dt="2021-11-27T14:24:31.639" v="2501" actId="1036"/>
          <ac:spMkLst>
            <pc:docMk/>
            <pc:sldMk cId="166632333" sldId="604"/>
            <ac:spMk id="2" creationId="{909DC09D-B9A6-4493-9A72-1CA7ECB1F5CA}"/>
          </ac:spMkLst>
        </pc:spChg>
      </pc:sldChg>
      <pc:sldChg chg="modSp add mod">
        <pc:chgData name="Thomas Stensitzki" userId="75cafe6b-2f2a-469b-85c4-eec3b9c972ba" providerId="ADAL" clId="{84A5A1CF-D4D8-4DEE-82E8-21007BEBD9EB}" dt="2021-11-27T14:24:41.132" v="2529" actId="1035"/>
        <pc:sldMkLst>
          <pc:docMk/>
          <pc:sldMk cId="2150546359" sldId="605"/>
        </pc:sldMkLst>
        <pc:spChg chg="mod">
          <ac:chgData name="Thomas Stensitzki" userId="75cafe6b-2f2a-469b-85c4-eec3b9c972ba" providerId="ADAL" clId="{84A5A1CF-D4D8-4DEE-82E8-21007BEBD9EB}" dt="2021-11-27T14:24:41.132" v="2529" actId="1035"/>
          <ac:spMkLst>
            <pc:docMk/>
            <pc:sldMk cId="2150546359" sldId="605"/>
            <ac:spMk id="2" creationId="{909DC09D-B9A6-4493-9A72-1CA7ECB1F5CA}"/>
          </ac:spMkLst>
        </pc:spChg>
      </pc:sldChg>
      <pc:sldChg chg="modSp add mod ord">
        <pc:chgData name="Thomas Stensitzki" userId="75cafe6b-2f2a-469b-85c4-eec3b9c972ba" providerId="ADAL" clId="{84A5A1CF-D4D8-4DEE-82E8-21007BEBD9EB}" dt="2021-11-27T14:24:55.538" v="2556" actId="1035"/>
        <pc:sldMkLst>
          <pc:docMk/>
          <pc:sldMk cId="2386028982" sldId="606"/>
        </pc:sldMkLst>
        <pc:spChg chg="mod">
          <ac:chgData name="Thomas Stensitzki" userId="75cafe6b-2f2a-469b-85c4-eec3b9c972ba" providerId="ADAL" clId="{84A5A1CF-D4D8-4DEE-82E8-21007BEBD9EB}" dt="2021-11-27T14:24:55.538" v="2556" actId="1035"/>
          <ac:spMkLst>
            <pc:docMk/>
            <pc:sldMk cId="2386028982" sldId="606"/>
            <ac:spMk id="2" creationId="{909DC09D-B9A6-4493-9A72-1CA7ECB1F5CA}"/>
          </ac:spMkLst>
        </pc:spChg>
      </pc:sldChg>
      <pc:sldChg chg="modSp add mod ord">
        <pc:chgData name="Thomas Stensitzki" userId="75cafe6b-2f2a-469b-85c4-eec3b9c972ba" providerId="ADAL" clId="{84A5A1CF-D4D8-4DEE-82E8-21007BEBD9EB}" dt="2021-11-27T14:25:19.875" v="2598" actId="6549"/>
        <pc:sldMkLst>
          <pc:docMk/>
          <pc:sldMk cId="2597390730" sldId="607"/>
        </pc:sldMkLst>
        <pc:spChg chg="mod">
          <ac:chgData name="Thomas Stensitzki" userId="75cafe6b-2f2a-469b-85c4-eec3b9c972ba" providerId="ADAL" clId="{84A5A1CF-D4D8-4DEE-82E8-21007BEBD9EB}" dt="2021-11-27T14:25:16.340" v="2596" actId="14100"/>
          <ac:spMkLst>
            <pc:docMk/>
            <pc:sldMk cId="2597390730" sldId="607"/>
            <ac:spMk id="2" creationId="{909DC09D-B9A6-4493-9A72-1CA7ECB1F5CA}"/>
          </ac:spMkLst>
        </pc:spChg>
        <pc:spChg chg="mod">
          <ac:chgData name="Thomas Stensitzki" userId="75cafe6b-2f2a-469b-85c4-eec3b9c972ba" providerId="ADAL" clId="{84A5A1CF-D4D8-4DEE-82E8-21007BEBD9EB}" dt="2021-11-27T14:25:19.875" v="2598" actId="6549"/>
          <ac:spMkLst>
            <pc:docMk/>
            <pc:sldMk cId="2597390730" sldId="607"/>
            <ac:spMk id="5" creationId="{C24DACB5-1BEC-4C86-9652-BAFD8DE56FEF}"/>
          </ac:spMkLst>
        </pc:spChg>
      </pc:sldChg>
    </pc:docChg>
  </pc:docChgLst>
  <pc:docChgLst>
    <pc:chgData name="Thomas Stensitzki" userId="S::thomas.stensitzki@granikos.eu::75cafe6b-2f2a-469b-85c4-eec3b9c972ba" providerId="AD" clId="Web-{B54B06DF-100B-44E6-958F-2F982B87E4AB}"/>
    <pc:docChg chg="addSld delSld modSld sldOrd modSection">
      <pc:chgData name="Thomas Stensitzki" userId="S::thomas.stensitzki@granikos.eu::75cafe6b-2f2a-469b-85c4-eec3b9c972ba" providerId="AD" clId="Web-{B54B06DF-100B-44E6-958F-2F982B87E4AB}" dt="2023-05-23T09:05:24.477" v="131"/>
      <pc:docMkLst>
        <pc:docMk/>
      </pc:docMkLst>
      <pc:sldChg chg="modTransition">
        <pc:chgData name="Thomas Stensitzki" userId="S::thomas.stensitzki@granikos.eu::75cafe6b-2f2a-469b-85c4-eec3b9c972ba" providerId="AD" clId="Web-{B54B06DF-100B-44E6-958F-2F982B87E4AB}" dt="2023-05-23T08:52:10.372" v="24"/>
        <pc:sldMkLst>
          <pc:docMk/>
          <pc:sldMk cId="671489701" sldId="256"/>
        </pc:sldMkLst>
      </pc:sldChg>
      <pc:sldChg chg="modTransition">
        <pc:chgData name="Thomas Stensitzki" userId="S::thomas.stensitzki@granikos.eu::75cafe6b-2f2a-469b-85c4-eec3b9c972ba" providerId="AD" clId="Web-{B54B06DF-100B-44E6-958F-2F982B87E4AB}" dt="2023-05-23T08:52:10.372" v="26"/>
        <pc:sldMkLst>
          <pc:docMk/>
          <pc:sldMk cId="2855324227" sldId="257"/>
        </pc:sldMkLst>
      </pc:sldChg>
      <pc:sldChg chg="modTransition">
        <pc:chgData name="Thomas Stensitzki" userId="S::thomas.stensitzki@granikos.eu::75cafe6b-2f2a-469b-85c4-eec3b9c972ba" providerId="AD" clId="Web-{B54B06DF-100B-44E6-958F-2F982B87E4AB}" dt="2023-05-23T08:52:10.388" v="87"/>
        <pc:sldMkLst>
          <pc:docMk/>
          <pc:sldMk cId="3332792154" sldId="258"/>
        </pc:sldMkLst>
      </pc:sldChg>
      <pc:sldChg chg="modTransition">
        <pc:chgData name="Thomas Stensitzki" userId="S::thomas.stensitzki@granikos.eu::75cafe6b-2f2a-469b-85c4-eec3b9c972ba" providerId="AD" clId="Web-{B54B06DF-100B-44E6-958F-2F982B87E4AB}" dt="2023-05-23T08:52:10.372" v="25"/>
        <pc:sldMkLst>
          <pc:docMk/>
          <pc:sldMk cId="1545829058" sldId="259"/>
        </pc:sldMkLst>
      </pc:sldChg>
      <pc:sldChg chg="modTransition">
        <pc:chgData name="Thomas Stensitzki" userId="S::thomas.stensitzki@granikos.eu::75cafe6b-2f2a-469b-85c4-eec3b9c972ba" providerId="AD" clId="Web-{B54B06DF-100B-44E6-958F-2F982B87E4AB}" dt="2023-05-23T08:52:10.372" v="27"/>
        <pc:sldMkLst>
          <pc:docMk/>
          <pc:sldMk cId="2698998357" sldId="260"/>
        </pc:sldMkLst>
      </pc:sldChg>
      <pc:sldChg chg="modTransition">
        <pc:chgData name="Thomas Stensitzki" userId="S::thomas.stensitzki@granikos.eu::75cafe6b-2f2a-469b-85c4-eec3b9c972ba" providerId="AD" clId="Web-{B54B06DF-100B-44E6-958F-2F982B87E4AB}" dt="2023-05-23T08:52:10.372" v="29"/>
        <pc:sldMkLst>
          <pc:docMk/>
          <pc:sldMk cId="4007670073" sldId="268"/>
        </pc:sldMkLst>
      </pc:sldChg>
      <pc:sldChg chg="modTransition">
        <pc:chgData name="Thomas Stensitzki" userId="S::thomas.stensitzki@granikos.eu::75cafe6b-2f2a-469b-85c4-eec3b9c972ba" providerId="AD" clId="Web-{B54B06DF-100B-44E6-958F-2F982B87E4AB}" dt="2023-05-23T08:52:10.388" v="81"/>
        <pc:sldMkLst>
          <pc:docMk/>
          <pc:sldMk cId="2721051844" sldId="269"/>
        </pc:sldMkLst>
      </pc:sldChg>
      <pc:sldChg chg="modTransition">
        <pc:chgData name="Thomas Stensitzki" userId="S::thomas.stensitzki@granikos.eu::75cafe6b-2f2a-469b-85c4-eec3b9c972ba" providerId="AD" clId="Web-{B54B06DF-100B-44E6-958F-2F982B87E4AB}" dt="2023-05-23T08:52:10.388" v="88"/>
        <pc:sldMkLst>
          <pc:docMk/>
          <pc:sldMk cId="1928334901" sldId="295"/>
        </pc:sldMkLst>
      </pc:sldChg>
      <pc:sldChg chg="modTransition">
        <pc:chgData name="Thomas Stensitzki" userId="S::thomas.stensitzki@granikos.eu::75cafe6b-2f2a-469b-85c4-eec3b9c972ba" providerId="AD" clId="Web-{B54B06DF-100B-44E6-958F-2F982B87E4AB}" dt="2023-05-23T08:52:10.388" v="83"/>
        <pc:sldMkLst>
          <pc:docMk/>
          <pc:sldMk cId="2814967912" sldId="311"/>
        </pc:sldMkLst>
      </pc:sldChg>
      <pc:sldChg chg="modTransition">
        <pc:chgData name="Thomas Stensitzki" userId="S::thomas.stensitzki@granikos.eu::75cafe6b-2f2a-469b-85c4-eec3b9c972ba" providerId="AD" clId="Web-{B54B06DF-100B-44E6-958F-2F982B87E4AB}" dt="2023-05-23T08:52:10.372" v="30"/>
        <pc:sldMkLst>
          <pc:docMk/>
          <pc:sldMk cId="2227487991" sldId="378"/>
        </pc:sldMkLst>
      </pc:sldChg>
      <pc:sldChg chg="modTransition">
        <pc:chgData name="Thomas Stensitzki" userId="S::thomas.stensitzki@granikos.eu::75cafe6b-2f2a-469b-85c4-eec3b9c972ba" providerId="AD" clId="Web-{B54B06DF-100B-44E6-958F-2F982B87E4AB}" dt="2023-05-23T08:52:10.388" v="84"/>
        <pc:sldMkLst>
          <pc:docMk/>
          <pc:sldMk cId="2923837414" sldId="513"/>
        </pc:sldMkLst>
      </pc:sldChg>
      <pc:sldChg chg="modTransition">
        <pc:chgData name="Thomas Stensitzki" userId="S::thomas.stensitzki@granikos.eu::75cafe6b-2f2a-469b-85c4-eec3b9c972ba" providerId="AD" clId="Web-{B54B06DF-100B-44E6-958F-2F982B87E4AB}" dt="2023-05-23T08:52:10.388" v="82"/>
        <pc:sldMkLst>
          <pc:docMk/>
          <pc:sldMk cId="2395924320" sldId="514"/>
        </pc:sldMkLst>
      </pc:sldChg>
      <pc:sldChg chg="modTransition">
        <pc:chgData name="Thomas Stensitzki" userId="S::thomas.stensitzki@granikos.eu::75cafe6b-2f2a-469b-85c4-eec3b9c972ba" providerId="AD" clId="Web-{B54B06DF-100B-44E6-958F-2F982B87E4AB}" dt="2023-05-23T08:52:10.372" v="48"/>
        <pc:sldMkLst>
          <pc:docMk/>
          <pc:sldMk cId="3797754622" sldId="515"/>
        </pc:sldMkLst>
      </pc:sldChg>
      <pc:sldChg chg="modTransition">
        <pc:chgData name="Thomas Stensitzki" userId="S::thomas.stensitzki@granikos.eu::75cafe6b-2f2a-469b-85c4-eec3b9c972ba" providerId="AD" clId="Web-{B54B06DF-100B-44E6-958F-2F982B87E4AB}" dt="2023-05-23T08:52:10.388" v="86"/>
        <pc:sldMkLst>
          <pc:docMk/>
          <pc:sldMk cId="2791634409" sldId="560"/>
        </pc:sldMkLst>
      </pc:sldChg>
      <pc:sldChg chg="modTransition">
        <pc:chgData name="Thomas Stensitzki" userId="S::thomas.stensitzki@granikos.eu::75cafe6b-2f2a-469b-85c4-eec3b9c972ba" providerId="AD" clId="Web-{B54B06DF-100B-44E6-958F-2F982B87E4AB}" dt="2023-05-23T08:52:10.372" v="28"/>
        <pc:sldMkLst>
          <pc:docMk/>
          <pc:sldMk cId="1051205786" sldId="607"/>
        </pc:sldMkLst>
      </pc:sldChg>
      <pc:sldChg chg="modTransition">
        <pc:chgData name="Thomas Stensitzki" userId="S::thomas.stensitzki@granikos.eu::75cafe6b-2f2a-469b-85c4-eec3b9c972ba" providerId="AD" clId="Web-{B54B06DF-100B-44E6-958F-2F982B87E4AB}" dt="2023-05-23T08:52:10.372" v="47"/>
        <pc:sldMkLst>
          <pc:docMk/>
          <pc:sldMk cId="1962477249" sldId="659"/>
        </pc:sldMkLst>
      </pc:sldChg>
      <pc:sldChg chg="del">
        <pc:chgData name="Thomas Stensitzki" userId="S::thomas.stensitzki@granikos.eu::75cafe6b-2f2a-469b-85c4-eec3b9c972ba" providerId="AD" clId="Web-{B54B06DF-100B-44E6-958F-2F982B87E4AB}" dt="2023-05-23T08:50:43.635" v="18"/>
        <pc:sldMkLst>
          <pc:docMk/>
          <pc:sldMk cId="2553020497" sldId="660"/>
        </pc:sldMkLst>
      </pc:sldChg>
      <pc:sldChg chg="modTransition">
        <pc:chgData name="Thomas Stensitzki" userId="S::thomas.stensitzki@granikos.eu::75cafe6b-2f2a-469b-85c4-eec3b9c972ba" providerId="AD" clId="Web-{B54B06DF-100B-44E6-958F-2F982B87E4AB}" dt="2023-05-23T08:52:10.388" v="71"/>
        <pc:sldMkLst>
          <pc:docMk/>
          <pc:sldMk cId="4212332529" sldId="661"/>
        </pc:sldMkLst>
      </pc:sldChg>
      <pc:sldChg chg="modSp modTransition">
        <pc:chgData name="Thomas Stensitzki" userId="S::thomas.stensitzki@granikos.eu::75cafe6b-2f2a-469b-85c4-eec3b9c972ba" providerId="AD" clId="Web-{B54B06DF-100B-44E6-958F-2F982B87E4AB}" dt="2023-05-23T08:52:10.388" v="80"/>
        <pc:sldMkLst>
          <pc:docMk/>
          <pc:sldMk cId="3400462124" sldId="662"/>
        </pc:sldMkLst>
        <pc:spChg chg="mod">
          <ac:chgData name="Thomas Stensitzki" userId="S::thomas.stensitzki@granikos.eu::75cafe6b-2f2a-469b-85c4-eec3b9c972ba" providerId="AD" clId="Web-{B54B06DF-100B-44E6-958F-2F982B87E4AB}" dt="2023-05-23T08:50:41.963" v="17" actId="20577"/>
          <ac:spMkLst>
            <pc:docMk/>
            <pc:sldMk cId="3400462124" sldId="662"/>
            <ac:spMk id="5" creationId="{E7E44277-3BFB-F197-AA87-8A0AE4DCEB5D}"/>
          </ac:spMkLst>
        </pc:spChg>
      </pc:sldChg>
      <pc:sldChg chg="modTransition">
        <pc:chgData name="Thomas Stensitzki" userId="S::thomas.stensitzki@granikos.eu::75cafe6b-2f2a-469b-85c4-eec3b9c972ba" providerId="AD" clId="Web-{B54B06DF-100B-44E6-958F-2F982B87E4AB}" dt="2023-05-23T08:52:10.388" v="72"/>
        <pc:sldMkLst>
          <pc:docMk/>
          <pc:sldMk cId="3908660988" sldId="663"/>
        </pc:sldMkLst>
      </pc:sldChg>
      <pc:sldChg chg="modTransition">
        <pc:chgData name="Thomas Stensitzki" userId="S::thomas.stensitzki@granikos.eu::75cafe6b-2f2a-469b-85c4-eec3b9c972ba" providerId="AD" clId="Web-{B54B06DF-100B-44E6-958F-2F982B87E4AB}" dt="2023-05-23T08:52:10.388" v="78"/>
        <pc:sldMkLst>
          <pc:docMk/>
          <pc:sldMk cId="1830824739" sldId="664"/>
        </pc:sldMkLst>
      </pc:sldChg>
      <pc:sldChg chg="modTransition">
        <pc:chgData name="Thomas Stensitzki" userId="S::thomas.stensitzki@granikos.eu::75cafe6b-2f2a-469b-85c4-eec3b9c972ba" providerId="AD" clId="Web-{B54B06DF-100B-44E6-958F-2F982B87E4AB}" dt="2023-05-23T08:52:10.388" v="73"/>
        <pc:sldMkLst>
          <pc:docMk/>
          <pc:sldMk cId="923570546" sldId="665"/>
        </pc:sldMkLst>
      </pc:sldChg>
      <pc:sldChg chg="modTransition">
        <pc:chgData name="Thomas Stensitzki" userId="S::thomas.stensitzki@granikos.eu::75cafe6b-2f2a-469b-85c4-eec3b9c972ba" providerId="AD" clId="Web-{B54B06DF-100B-44E6-958F-2F982B87E4AB}" dt="2023-05-23T08:52:10.388" v="79"/>
        <pc:sldMkLst>
          <pc:docMk/>
          <pc:sldMk cId="2929133666" sldId="666"/>
        </pc:sldMkLst>
      </pc:sldChg>
      <pc:sldChg chg="modTransition">
        <pc:chgData name="Thomas Stensitzki" userId="S::thomas.stensitzki@granikos.eu::75cafe6b-2f2a-469b-85c4-eec3b9c972ba" providerId="AD" clId="Web-{B54B06DF-100B-44E6-958F-2F982B87E4AB}" dt="2023-05-23T08:52:10.388" v="75"/>
        <pc:sldMkLst>
          <pc:docMk/>
          <pc:sldMk cId="3802477703" sldId="667"/>
        </pc:sldMkLst>
      </pc:sldChg>
      <pc:sldChg chg="modTransition">
        <pc:chgData name="Thomas Stensitzki" userId="S::thomas.stensitzki@granikos.eu::75cafe6b-2f2a-469b-85c4-eec3b9c972ba" providerId="AD" clId="Web-{B54B06DF-100B-44E6-958F-2F982B87E4AB}" dt="2023-05-23T08:52:10.388" v="76"/>
        <pc:sldMkLst>
          <pc:docMk/>
          <pc:sldMk cId="1650060701" sldId="668"/>
        </pc:sldMkLst>
      </pc:sldChg>
      <pc:sldChg chg="modTransition">
        <pc:chgData name="Thomas Stensitzki" userId="S::thomas.stensitzki@granikos.eu::75cafe6b-2f2a-469b-85c4-eec3b9c972ba" providerId="AD" clId="Web-{B54B06DF-100B-44E6-958F-2F982B87E4AB}" dt="2023-05-23T08:52:10.388" v="77"/>
        <pc:sldMkLst>
          <pc:docMk/>
          <pc:sldMk cId="3682317345" sldId="670"/>
        </pc:sldMkLst>
      </pc:sldChg>
      <pc:sldChg chg="modTransition">
        <pc:chgData name="Thomas Stensitzki" userId="S::thomas.stensitzki@granikos.eu::75cafe6b-2f2a-469b-85c4-eec3b9c972ba" providerId="AD" clId="Web-{B54B06DF-100B-44E6-958F-2F982B87E4AB}" dt="2023-05-23T08:52:10.388" v="74"/>
        <pc:sldMkLst>
          <pc:docMk/>
          <pc:sldMk cId="2047617742" sldId="671"/>
        </pc:sldMkLst>
      </pc:sldChg>
      <pc:sldChg chg="modTransition">
        <pc:chgData name="Thomas Stensitzki" userId="S::thomas.stensitzki@granikos.eu::75cafe6b-2f2a-469b-85c4-eec3b9c972ba" providerId="AD" clId="Web-{B54B06DF-100B-44E6-958F-2F982B87E4AB}" dt="2023-05-23T08:52:10.372" v="50"/>
        <pc:sldMkLst>
          <pc:docMk/>
          <pc:sldMk cId="3858958038" sldId="672"/>
        </pc:sldMkLst>
      </pc:sldChg>
      <pc:sldChg chg="modTransition">
        <pc:chgData name="Thomas Stensitzki" userId="S::thomas.stensitzki@granikos.eu::75cafe6b-2f2a-469b-85c4-eec3b9c972ba" providerId="AD" clId="Web-{B54B06DF-100B-44E6-958F-2F982B87E4AB}" dt="2023-05-23T08:52:10.372" v="31"/>
        <pc:sldMkLst>
          <pc:docMk/>
          <pc:sldMk cId="3468202035" sldId="673"/>
        </pc:sldMkLst>
      </pc:sldChg>
      <pc:sldChg chg="modTransition">
        <pc:chgData name="Thomas Stensitzki" userId="S::thomas.stensitzki@granikos.eu::75cafe6b-2f2a-469b-85c4-eec3b9c972ba" providerId="AD" clId="Web-{B54B06DF-100B-44E6-958F-2F982B87E4AB}" dt="2023-05-23T08:52:10.372" v="32"/>
        <pc:sldMkLst>
          <pc:docMk/>
          <pc:sldMk cId="2327618361" sldId="674"/>
        </pc:sldMkLst>
      </pc:sldChg>
      <pc:sldChg chg="modTransition">
        <pc:chgData name="Thomas Stensitzki" userId="S::thomas.stensitzki@granikos.eu::75cafe6b-2f2a-469b-85c4-eec3b9c972ba" providerId="AD" clId="Web-{B54B06DF-100B-44E6-958F-2F982B87E4AB}" dt="2023-05-23T08:52:10.372" v="33"/>
        <pc:sldMkLst>
          <pc:docMk/>
          <pc:sldMk cId="1759168096" sldId="675"/>
        </pc:sldMkLst>
      </pc:sldChg>
      <pc:sldChg chg="modTransition">
        <pc:chgData name="Thomas Stensitzki" userId="S::thomas.stensitzki@granikos.eu::75cafe6b-2f2a-469b-85c4-eec3b9c972ba" providerId="AD" clId="Web-{B54B06DF-100B-44E6-958F-2F982B87E4AB}" dt="2023-05-23T08:52:10.372" v="34"/>
        <pc:sldMkLst>
          <pc:docMk/>
          <pc:sldMk cId="1298798883" sldId="676"/>
        </pc:sldMkLst>
      </pc:sldChg>
      <pc:sldChg chg="modTransition">
        <pc:chgData name="Thomas Stensitzki" userId="S::thomas.stensitzki@granikos.eu::75cafe6b-2f2a-469b-85c4-eec3b9c972ba" providerId="AD" clId="Web-{B54B06DF-100B-44E6-958F-2F982B87E4AB}" dt="2023-05-23T08:52:10.372" v="35"/>
        <pc:sldMkLst>
          <pc:docMk/>
          <pc:sldMk cId="548932751" sldId="677"/>
        </pc:sldMkLst>
      </pc:sldChg>
      <pc:sldChg chg="modTransition">
        <pc:chgData name="Thomas Stensitzki" userId="S::thomas.stensitzki@granikos.eu::75cafe6b-2f2a-469b-85c4-eec3b9c972ba" providerId="AD" clId="Web-{B54B06DF-100B-44E6-958F-2F982B87E4AB}" dt="2023-05-23T08:52:10.388" v="92"/>
        <pc:sldMkLst>
          <pc:docMk/>
          <pc:sldMk cId="3589806354" sldId="678"/>
        </pc:sldMkLst>
      </pc:sldChg>
      <pc:sldChg chg="modTransition">
        <pc:chgData name="Thomas Stensitzki" userId="S::thomas.stensitzki@granikos.eu::75cafe6b-2f2a-469b-85c4-eec3b9c972ba" providerId="AD" clId="Web-{B54B06DF-100B-44E6-958F-2F982B87E4AB}" dt="2023-05-23T08:52:10.372" v="36"/>
        <pc:sldMkLst>
          <pc:docMk/>
          <pc:sldMk cId="3797094460" sldId="679"/>
        </pc:sldMkLst>
      </pc:sldChg>
      <pc:sldChg chg="modTransition">
        <pc:chgData name="Thomas Stensitzki" userId="S::thomas.stensitzki@granikos.eu::75cafe6b-2f2a-469b-85c4-eec3b9c972ba" providerId="AD" clId="Web-{B54B06DF-100B-44E6-958F-2F982B87E4AB}" dt="2023-05-23T08:52:10.372" v="37"/>
        <pc:sldMkLst>
          <pc:docMk/>
          <pc:sldMk cId="3004964480" sldId="680"/>
        </pc:sldMkLst>
      </pc:sldChg>
      <pc:sldChg chg="modTransition">
        <pc:chgData name="Thomas Stensitzki" userId="S::thomas.stensitzki@granikos.eu::75cafe6b-2f2a-469b-85c4-eec3b9c972ba" providerId="AD" clId="Web-{B54B06DF-100B-44E6-958F-2F982B87E4AB}" dt="2023-05-23T08:52:10.372" v="38"/>
        <pc:sldMkLst>
          <pc:docMk/>
          <pc:sldMk cId="2318316286" sldId="681"/>
        </pc:sldMkLst>
      </pc:sldChg>
      <pc:sldChg chg="modTransition">
        <pc:chgData name="Thomas Stensitzki" userId="S::thomas.stensitzki@granikos.eu::75cafe6b-2f2a-469b-85c4-eec3b9c972ba" providerId="AD" clId="Web-{B54B06DF-100B-44E6-958F-2F982B87E4AB}" dt="2023-05-23T08:52:10.372" v="39"/>
        <pc:sldMkLst>
          <pc:docMk/>
          <pc:sldMk cId="4114483723" sldId="682"/>
        </pc:sldMkLst>
      </pc:sldChg>
      <pc:sldChg chg="modTransition">
        <pc:chgData name="Thomas Stensitzki" userId="S::thomas.stensitzki@granikos.eu::75cafe6b-2f2a-469b-85c4-eec3b9c972ba" providerId="AD" clId="Web-{B54B06DF-100B-44E6-958F-2F982B87E4AB}" dt="2023-05-23T08:52:10.372" v="51"/>
        <pc:sldMkLst>
          <pc:docMk/>
          <pc:sldMk cId="3010415139" sldId="683"/>
        </pc:sldMkLst>
      </pc:sldChg>
      <pc:sldChg chg="modTransition">
        <pc:chgData name="Thomas Stensitzki" userId="S::thomas.stensitzki@granikos.eu::75cafe6b-2f2a-469b-85c4-eec3b9c972ba" providerId="AD" clId="Web-{B54B06DF-100B-44E6-958F-2F982B87E4AB}" dt="2023-05-23T08:52:10.372" v="52"/>
        <pc:sldMkLst>
          <pc:docMk/>
          <pc:sldMk cId="1765254123" sldId="684"/>
        </pc:sldMkLst>
      </pc:sldChg>
      <pc:sldChg chg="modTransition">
        <pc:chgData name="Thomas Stensitzki" userId="S::thomas.stensitzki@granikos.eu::75cafe6b-2f2a-469b-85c4-eec3b9c972ba" providerId="AD" clId="Web-{B54B06DF-100B-44E6-958F-2F982B87E4AB}" dt="2023-05-23T08:52:10.372" v="53"/>
        <pc:sldMkLst>
          <pc:docMk/>
          <pc:sldMk cId="1361138141" sldId="685"/>
        </pc:sldMkLst>
      </pc:sldChg>
      <pc:sldChg chg="modTransition">
        <pc:chgData name="Thomas Stensitzki" userId="S::thomas.stensitzki@granikos.eu::75cafe6b-2f2a-469b-85c4-eec3b9c972ba" providerId="AD" clId="Web-{B54B06DF-100B-44E6-958F-2F982B87E4AB}" dt="2023-05-23T08:52:10.372" v="40"/>
        <pc:sldMkLst>
          <pc:docMk/>
          <pc:sldMk cId="1099908272" sldId="686"/>
        </pc:sldMkLst>
      </pc:sldChg>
      <pc:sldChg chg="modTransition">
        <pc:chgData name="Thomas Stensitzki" userId="S::thomas.stensitzki@granikos.eu::75cafe6b-2f2a-469b-85c4-eec3b9c972ba" providerId="AD" clId="Web-{B54B06DF-100B-44E6-958F-2F982B87E4AB}" dt="2023-05-23T08:52:10.372" v="54"/>
        <pc:sldMkLst>
          <pc:docMk/>
          <pc:sldMk cId="2682737613" sldId="687"/>
        </pc:sldMkLst>
      </pc:sldChg>
      <pc:sldChg chg="modTransition">
        <pc:chgData name="Thomas Stensitzki" userId="S::thomas.stensitzki@granikos.eu::75cafe6b-2f2a-469b-85c4-eec3b9c972ba" providerId="AD" clId="Web-{B54B06DF-100B-44E6-958F-2F982B87E4AB}" dt="2023-05-23T08:52:10.372" v="55"/>
        <pc:sldMkLst>
          <pc:docMk/>
          <pc:sldMk cId="2943637064" sldId="688"/>
        </pc:sldMkLst>
      </pc:sldChg>
      <pc:sldChg chg="modTransition">
        <pc:chgData name="Thomas Stensitzki" userId="S::thomas.stensitzki@granikos.eu::75cafe6b-2f2a-469b-85c4-eec3b9c972ba" providerId="AD" clId="Web-{B54B06DF-100B-44E6-958F-2F982B87E4AB}" dt="2023-05-23T08:52:10.372" v="56"/>
        <pc:sldMkLst>
          <pc:docMk/>
          <pc:sldMk cId="4179798793" sldId="689"/>
        </pc:sldMkLst>
      </pc:sldChg>
      <pc:sldChg chg="modTransition">
        <pc:chgData name="Thomas Stensitzki" userId="S::thomas.stensitzki@granikos.eu::75cafe6b-2f2a-469b-85c4-eec3b9c972ba" providerId="AD" clId="Web-{B54B06DF-100B-44E6-958F-2F982B87E4AB}" dt="2023-05-23T08:52:10.372" v="57"/>
        <pc:sldMkLst>
          <pc:docMk/>
          <pc:sldMk cId="3467191386" sldId="690"/>
        </pc:sldMkLst>
      </pc:sldChg>
      <pc:sldChg chg="modTransition">
        <pc:chgData name="Thomas Stensitzki" userId="S::thomas.stensitzki@granikos.eu::75cafe6b-2f2a-469b-85c4-eec3b9c972ba" providerId="AD" clId="Web-{B54B06DF-100B-44E6-958F-2F982B87E4AB}" dt="2023-05-23T08:52:10.372" v="58"/>
        <pc:sldMkLst>
          <pc:docMk/>
          <pc:sldMk cId="3176227063" sldId="691"/>
        </pc:sldMkLst>
      </pc:sldChg>
      <pc:sldChg chg="modTransition">
        <pc:chgData name="Thomas Stensitzki" userId="S::thomas.stensitzki@granikos.eu::75cafe6b-2f2a-469b-85c4-eec3b9c972ba" providerId="AD" clId="Web-{B54B06DF-100B-44E6-958F-2F982B87E4AB}" dt="2023-05-23T08:52:10.372" v="59"/>
        <pc:sldMkLst>
          <pc:docMk/>
          <pc:sldMk cId="2332237802" sldId="692"/>
        </pc:sldMkLst>
      </pc:sldChg>
      <pc:sldChg chg="modTransition">
        <pc:chgData name="Thomas Stensitzki" userId="S::thomas.stensitzki@granikos.eu::75cafe6b-2f2a-469b-85c4-eec3b9c972ba" providerId="AD" clId="Web-{B54B06DF-100B-44E6-958F-2F982B87E4AB}" dt="2023-05-23T08:52:10.372" v="60"/>
        <pc:sldMkLst>
          <pc:docMk/>
          <pc:sldMk cId="452218326" sldId="693"/>
        </pc:sldMkLst>
      </pc:sldChg>
      <pc:sldChg chg="modTransition">
        <pc:chgData name="Thomas Stensitzki" userId="S::thomas.stensitzki@granikos.eu::75cafe6b-2f2a-469b-85c4-eec3b9c972ba" providerId="AD" clId="Web-{B54B06DF-100B-44E6-958F-2F982B87E4AB}" dt="2023-05-23T08:52:10.372" v="61"/>
        <pc:sldMkLst>
          <pc:docMk/>
          <pc:sldMk cId="1161338400" sldId="694"/>
        </pc:sldMkLst>
      </pc:sldChg>
      <pc:sldChg chg="modTransition">
        <pc:chgData name="Thomas Stensitzki" userId="S::thomas.stensitzki@granikos.eu::75cafe6b-2f2a-469b-85c4-eec3b9c972ba" providerId="AD" clId="Web-{B54B06DF-100B-44E6-958F-2F982B87E4AB}" dt="2023-05-23T08:52:10.372" v="62"/>
        <pc:sldMkLst>
          <pc:docMk/>
          <pc:sldMk cId="3643256137" sldId="695"/>
        </pc:sldMkLst>
      </pc:sldChg>
      <pc:sldChg chg="modTransition">
        <pc:chgData name="Thomas Stensitzki" userId="S::thomas.stensitzki@granikos.eu::75cafe6b-2f2a-469b-85c4-eec3b9c972ba" providerId="AD" clId="Web-{B54B06DF-100B-44E6-958F-2F982B87E4AB}" dt="2023-05-23T08:52:10.372" v="63"/>
        <pc:sldMkLst>
          <pc:docMk/>
          <pc:sldMk cId="3372974903" sldId="696"/>
        </pc:sldMkLst>
      </pc:sldChg>
      <pc:sldChg chg="modTransition">
        <pc:chgData name="Thomas Stensitzki" userId="S::thomas.stensitzki@granikos.eu::75cafe6b-2f2a-469b-85c4-eec3b9c972ba" providerId="AD" clId="Web-{B54B06DF-100B-44E6-958F-2F982B87E4AB}" dt="2023-05-23T08:52:10.372" v="41"/>
        <pc:sldMkLst>
          <pc:docMk/>
          <pc:sldMk cId="374091465" sldId="697"/>
        </pc:sldMkLst>
      </pc:sldChg>
      <pc:sldChg chg="modTransition">
        <pc:chgData name="Thomas Stensitzki" userId="S::thomas.stensitzki@granikos.eu::75cafe6b-2f2a-469b-85c4-eec3b9c972ba" providerId="AD" clId="Web-{B54B06DF-100B-44E6-958F-2F982B87E4AB}" dt="2023-05-23T08:52:10.372" v="42"/>
        <pc:sldMkLst>
          <pc:docMk/>
          <pc:sldMk cId="4258120031" sldId="698"/>
        </pc:sldMkLst>
      </pc:sldChg>
      <pc:sldChg chg="modTransition">
        <pc:chgData name="Thomas Stensitzki" userId="S::thomas.stensitzki@granikos.eu::75cafe6b-2f2a-469b-85c4-eec3b9c972ba" providerId="AD" clId="Web-{B54B06DF-100B-44E6-958F-2F982B87E4AB}" dt="2023-05-23T08:52:10.372" v="43"/>
        <pc:sldMkLst>
          <pc:docMk/>
          <pc:sldMk cId="2743116939" sldId="699"/>
        </pc:sldMkLst>
      </pc:sldChg>
      <pc:sldChg chg="modTransition">
        <pc:chgData name="Thomas Stensitzki" userId="S::thomas.stensitzki@granikos.eu::75cafe6b-2f2a-469b-85c4-eec3b9c972ba" providerId="AD" clId="Web-{B54B06DF-100B-44E6-958F-2F982B87E4AB}" dt="2023-05-23T08:52:10.372" v="44"/>
        <pc:sldMkLst>
          <pc:docMk/>
          <pc:sldMk cId="1230148335" sldId="700"/>
        </pc:sldMkLst>
      </pc:sldChg>
      <pc:sldChg chg="ord modTransition">
        <pc:chgData name="Thomas Stensitzki" userId="S::thomas.stensitzki@granikos.eu::75cafe6b-2f2a-469b-85c4-eec3b9c972ba" providerId="AD" clId="Web-{B54B06DF-100B-44E6-958F-2F982B87E4AB}" dt="2023-05-23T09:03:35.895" v="117"/>
        <pc:sldMkLst>
          <pc:docMk/>
          <pc:sldMk cId="3896402637" sldId="701"/>
        </pc:sldMkLst>
      </pc:sldChg>
      <pc:sldChg chg="modTransition">
        <pc:chgData name="Thomas Stensitzki" userId="S::thomas.stensitzki@granikos.eu::75cafe6b-2f2a-469b-85c4-eec3b9c972ba" providerId="AD" clId="Web-{B54B06DF-100B-44E6-958F-2F982B87E4AB}" dt="2023-05-23T08:52:10.372" v="64"/>
        <pc:sldMkLst>
          <pc:docMk/>
          <pc:sldMk cId="575615367" sldId="702"/>
        </pc:sldMkLst>
      </pc:sldChg>
      <pc:sldChg chg="ord modTransition">
        <pc:chgData name="Thomas Stensitzki" userId="S::thomas.stensitzki@granikos.eu::75cafe6b-2f2a-469b-85c4-eec3b9c972ba" providerId="AD" clId="Web-{B54B06DF-100B-44E6-958F-2F982B87E4AB}" dt="2023-05-23T09:03:00.503" v="115"/>
        <pc:sldMkLst>
          <pc:docMk/>
          <pc:sldMk cId="4015570697" sldId="703"/>
        </pc:sldMkLst>
      </pc:sldChg>
      <pc:sldChg chg="modTransition">
        <pc:chgData name="Thomas Stensitzki" userId="S::thomas.stensitzki@granikos.eu::75cafe6b-2f2a-469b-85c4-eec3b9c972ba" providerId="AD" clId="Web-{B54B06DF-100B-44E6-958F-2F982B87E4AB}" dt="2023-05-23T08:52:10.372" v="45"/>
        <pc:sldMkLst>
          <pc:docMk/>
          <pc:sldMk cId="1573460963" sldId="704"/>
        </pc:sldMkLst>
      </pc:sldChg>
      <pc:sldChg chg="modTransition">
        <pc:chgData name="Thomas Stensitzki" userId="S::thomas.stensitzki@granikos.eu::75cafe6b-2f2a-469b-85c4-eec3b9c972ba" providerId="AD" clId="Web-{B54B06DF-100B-44E6-958F-2F982B87E4AB}" dt="2023-05-23T08:52:10.372" v="46"/>
        <pc:sldMkLst>
          <pc:docMk/>
          <pc:sldMk cId="2507653948" sldId="705"/>
        </pc:sldMkLst>
      </pc:sldChg>
      <pc:sldChg chg="modTransition">
        <pc:chgData name="Thomas Stensitzki" userId="S::thomas.stensitzki@granikos.eu::75cafe6b-2f2a-469b-85c4-eec3b9c972ba" providerId="AD" clId="Web-{B54B06DF-100B-44E6-958F-2F982B87E4AB}" dt="2023-05-23T08:52:10.372" v="65"/>
        <pc:sldMkLst>
          <pc:docMk/>
          <pc:sldMk cId="2812659098" sldId="706"/>
        </pc:sldMkLst>
      </pc:sldChg>
      <pc:sldChg chg="modTransition">
        <pc:chgData name="Thomas Stensitzki" userId="S::thomas.stensitzki@granikos.eu::75cafe6b-2f2a-469b-85c4-eec3b9c972ba" providerId="AD" clId="Web-{B54B06DF-100B-44E6-958F-2F982B87E4AB}" dt="2023-05-23T08:52:10.372" v="66"/>
        <pc:sldMkLst>
          <pc:docMk/>
          <pc:sldMk cId="1687698883" sldId="707"/>
        </pc:sldMkLst>
      </pc:sldChg>
      <pc:sldChg chg="modTransition">
        <pc:chgData name="Thomas Stensitzki" userId="S::thomas.stensitzki@granikos.eu::75cafe6b-2f2a-469b-85c4-eec3b9c972ba" providerId="AD" clId="Web-{B54B06DF-100B-44E6-958F-2F982B87E4AB}" dt="2023-05-23T08:52:10.372" v="67"/>
        <pc:sldMkLst>
          <pc:docMk/>
          <pc:sldMk cId="228026287" sldId="708"/>
        </pc:sldMkLst>
      </pc:sldChg>
      <pc:sldChg chg="modTransition">
        <pc:chgData name="Thomas Stensitzki" userId="S::thomas.stensitzki@granikos.eu::75cafe6b-2f2a-469b-85c4-eec3b9c972ba" providerId="AD" clId="Web-{B54B06DF-100B-44E6-958F-2F982B87E4AB}" dt="2023-05-23T08:52:10.372" v="68"/>
        <pc:sldMkLst>
          <pc:docMk/>
          <pc:sldMk cId="110691181" sldId="709"/>
        </pc:sldMkLst>
      </pc:sldChg>
      <pc:sldChg chg="modTransition">
        <pc:chgData name="Thomas Stensitzki" userId="S::thomas.stensitzki@granikos.eu::75cafe6b-2f2a-469b-85c4-eec3b9c972ba" providerId="AD" clId="Web-{B54B06DF-100B-44E6-958F-2F982B87E4AB}" dt="2023-05-23T08:52:10.372" v="69"/>
        <pc:sldMkLst>
          <pc:docMk/>
          <pc:sldMk cId="548134817" sldId="710"/>
        </pc:sldMkLst>
      </pc:sldChg>
      <pc:sldChg chg="modTransition">
        <pc:chgData name="Thomas Stensitzki" userId="S::thomas.stensitzki@granikos.eu::75cafe6b-2f2a-469b-85c4-eec3b9c972ba" providerId="AD" clId="Web-{B54B06DF-100B-44E6-958F-2F982B87E4AB}" dt="2023-05-23T08:52:10.388" v="70"/>
        <pc:sldMkLst>
          <pc:docMk/>
          <pc:sldMk cId="3364405255" sldId="711"/>
        </pc:sldMkLst>
      </pc:sldChg>
      <pc:sldChg chg="modTransition">
        <pc:chgData name="Thomas Stensitzki" userId="S::thomas.stensitzki@granikos.eu::75cafe6b-2f2a-469b-85c4-eec3b9c972ba" providerId="AD" clId="Web-{B54B06DF-100B-44E6-958F-2F982B87E4AB}" dt="2023-05-23T08:52:10.388" v="90"/>
        <pc:sldMkLst>
          <pc:docMk/>
          <pc:sldMk cId="3869137616" sldId="712"/>
        </pc:sldMkLst>
      </pc:sldChg>
      <pc:sldChg chg="modTransition">
        <pc:chgData name="Thomas Stensitzki" userId="S::thomas.stensitzki@granikos.eu::75cafe6b-2f2a-469b-85c4-eec3b9c972ba" providerId="AD" clId="Web-{B54B06DF-100B-44E6-958F-2F982B87E4AB}" dt="2023-05-23T08:52:10.388" v="85"/>
        <pc:sldMkLst>
          <pc:docMk/>
          <pc:sldMk cId="1812240311" sldId="713"/>
        </pc:sldMkLst>
      </pc:sldChg>
      <pc:sldChg chg="modSp add ord replId modTransition">
        <pc:chgData name="Thomas Stensitzki" userId="S::thomas.stensitzki@granikos.eu::75cafe6b-2f2a-469b-85c4-eec3b9c972ba" providerId="AD" clId="Web-{B54B06DF-100B-44E6-958F-2F982B87E4AB}" dt="2023-05-23T08:52:10.388" v="91"/>
        <pc:sldMkLst>
          <pc:docMk/>
          <pc:sldMk cId="3493285919" sldId="714"/>
        </pc:sldMkLst>
        <pc:spChg chg="mod">
          <ac:chgData name="Thomas Stensitzki" userId="S::thomas.stensitzki@granikos.eu::75cafe6b-2f2a-469b-85c4-eec3b9c972ba" providerId="AD" clId="Web-{B54B06DF-100B-44E6-958F-2F982B87E4AB}" dt="2023-05-23T08:51:45.684" v="23" actId="1076"/>
          <ac:spMkLst>
            <pc:docMk/>
            <pc:sldMk cId="3493285919" sldId="714"/>
            <ac:spMk id="2" creationId="{909DC09D-B9A6-4493-9A72-1CA7ECB1F5CA}"/>
          </ac:spMkLst>
        </pc:spChg>
      </pc:sldChg>
      <pc:sldChg chg="modSp add ord replId">
        <pc:chgData name="Thomas Stensitzki" userId="S::thomas.stensitzki@granikos.eu::75cafe6b-2f2a-469b-85c4-eec3b9c972ba" providerId="AD" clId="Web-{B54B06DF-100B-44E6-958F-2F982B87E4AB}" dt="2023-05-23T08:52:36.904" v="96" actId="1076"/>
        <pc:sldMkLst>
          <pc:docMk/>
          <pc:sldMk cId="3096558029" sldId="715"/>
        </pc:sldMkLst>
        <pc:spChg chg="mod">
          <ac:chgData name="Thomas Stensitzki" userId="S::thomas.stensitzki@granikos.eu::75cafe6b-2f2a-469b-85c4-eec3b9c972ba" providerId="AD" clId="Web-{B54B06DF-100B-44E6-958F-2F982B87E4AB}" dt="2023-05-23T08:52:36.904" v="96" actId="1076"/>
          <ac:spMkLst>
            <pc:docMk/>
            <pc:sldMk cId="3096558029" sldId="715"/>
            <ac:spMk id="2" creationId="{909DC09D-B9A6-4493-9A72-1CA7ECB1F5CA}"/>
          </ac:spMkLst>
        </pc:spChg>
      </pc:sldChg>
      <pc:sldChg chg="modSp add ord replId">
        <pc:chgData name="Thomas Stensitzki" userId="S::thomas.stensitzki@granikos.eu::75cafe6b-2f2a-469b-85c4-eec3b9c972ba" providerId="AD" clId="Web-{B54B06DF-100B-44E6-958F-2F982B87E4AB}" dt="2023-05-23T08:53:08.296" v="99" actId="1076"/>
        <pc:sldMkLst>
          <pc:docMk/>
          <pc:sldMk cId="885506395" sldId="716"/>
        </pc:sldMkLst>
        <pc:spChg chg="mod">
          <ac:chgData name="Thomas Stensitzki" userId="S::thomas.stensitzki@granikos.eu::75cafe6b-2f2a-469b-85c4-eec3b9c972ba" providerId="AD" clId="Web-{B54B06DF-100B-44E6-958F-2F982B87E4AB}" dt="2023-05-23T08:53:08.296" v="99" actId="1076"/>
          <ac:spMkLst>
            <pc:docMk/>
            <pc:sldMk cId="885506395" sldId="716"/>
            <ac:spMk id="2" creationId="{909DC09D-B9A6-4493-9A72-1CA7ECB1F5CA}"/>
          </ac:spMkLst>
        </pc:spChg>
      </pc:sldChg>
      <pc:sldChg chg="modSp add ord replId">
        <pc:chgData name="Thomas Stensitzki" userId="S::thomas.stensitzki@granikos.eu::75cafe6b-2f2a-469b-85c4-eec3b9c972ba" providerId="AD" clId="Web-{B54B06DF-100B-44E6-958F-2F982B87E4AB}" dt="2023-05-23T08:56:15.427" v="102" actId="1076"/>
        <pc:sldMkLst>
          <pc:docMk/>
          <pc:sldMk cId="3811181025" sldId="717"/>
        </pc:sldMkLst>
        <pc:spChg chg="mod">
          <ac:chgData name="Thomas Stensitzki" userId="S::thomas.stensitzki@granikos.eu::75cafe6b-2f2a-469b-85c4-eec3b9c972ba" providerId="AD" clId="Web-{B54B06DF-100B-44E6-958F-2F982B87E4AB}" dt="2023-05-23T08:56:15.427" v="102" actId="1076"/>
          <ac:spMkLst>
            <pc:docMk/>
            <pc:sldMk cId="3811181025" sldId="717"/>
            <ac:spMk id="2" creationId="{909DC09D-B9A6-4493-9A72-1CA7ECB1F5CA}"/>
          </ac:spMkLst>
        </pc:spChg>
      </pc:sldChg>
      <pc:sldChg chg="modSp add ord replId">
        <pc:chgData name="Thomas Stensitzki" userId="S::thomas.stensitzki@granikos.eu::75cafe6b-2f2a-469b-85c4-eec3b9c972ba" providerId="AD" clId="Web-{B54B06DF-100B-44E6-958F-2F982B87E4AB}" dt="2023-05-23T08:56:26.552" v="105" actId="1076"/>
        <pc:sldMkLst>
          <pc:docMk/>
          <pc:sldMk cId="1675618000" sldId="718"/>
        </pc:sldMkLst>
        <pc:spChg chg="mod">
          <ac:chgData name="Thomas Stensitzki" userId="S::thomas.stensitzki@granikos.eu::75cafe6b-2f2a-469b-85c4-eec3b9c972ba" providerId="AD" clId="Web-{B54B06DF-100B-44E6-958F-2F982B87E4AB}" dt="2023-05-23T08:56:26.552" v="105" actId="1076"/>
          <ac:spMkLst>
            <pc:docMk/>
            <pc:sldMk cId="1675618000" sldId="718"/>
            <ac:spMk id="2" creationId="{909DC09D-B9A6-4493-9A72-1CA7ECB1F5CA}"/>
          </ac:spMkLst>
        </pc:spChg>
      </pc:sldChg>
      <pc:sldChg chg="modSp add ord replId">
        <pc:chgData name="Thomas Stensitzki" userId="S::thomas.stensitzki@granikos.eu::75cafe6b-2f2a-469b-85c4-eec3b9c972ba" providerId="AD" clId="Web-{B54B06DF-100B-44E6-958F-2F982B87E4AB}" dt="2023-05-23T08:57:01.554" v="108" actId="1076"/>
        <pc:sldMkLst>
          <pc:docMk/>
          <pc:sldMk cId="3699936980" sldId="719"/>
        </pc:sldMkLst>
        <pc:spChg chg="mod">
          <ac:chgData name="Thomas Stensitzki" userId="S::thomas.stensitzki@granikos.eu::75cafe6b-2f2a-469b-85c4-eec3b9c972ba" providerId="AD" clId="Web-{B54B06DF-100B-44E6-958F-2F982B87E4AB}" dt="2023-05-23T08:57:01.554" v="108" actId="1076"/>
          <ac:spMkLst>
            <pc:docMk/>
            <pc:sldMk cId="3699936980" sldId="719"/>
            <ac:spMk id="2" creationId="{909DC09D-B9A6-4493-9A72-1CA7ECB1F5CA}"/>
          </ac:spMkLst>
        </pc:spChg>
      </pc:sldChg>
      <pc:sldChg chg="modSp add ord replId">
        <pc:chgData name="Thomas Stensitzki" userId="S::thomas.stensitzki@granikos.eu::75cafe6b-2f2a-469b-85c4-eec3b9c972ba" providerId="AD" clId="Web-{B54B06DF-100B-44E6-958F-2F982B87E4AB}" dt="2023-05-23T09:02:36.752" v="111" actId="1076"/>
        <pc:sldMkLst>
          <pc:docMk/>
          <pc:sldMk cId="1816139218" sldId="720"/>
        </pc:sldMkLst>
        <pc:spChg chg="mod">
          <ac:chgData name="Thomas Stensitzki" userId="S::thomas.stensitzki@granikos.eu::75cafe6b-2f2a-469b-85c4-eec3b9c972ba" providerId="AD" clId="Web-{B54B06DF-100B-44E6-958F-2F982B87E4AB}" dt="2023-05-23T09:02:36.752" v="111" actId="1076"/>
          <ac:spMkLst>
            <pc:docMk/>
            <pc:sldMk cId="1816139218" sldId="720"/>
            <ac:spMk id="2" creationId="{909DC09D-B9A6-4493-9A72-1CA7ECB1F5CA}"/>
          </ac:spMkLst>
        </pc:spChg>
      </pc:sldChg>
      <pc:sldChg chg="modSp add ord replId">
        <pc:chgData name="Thomas Stensitzki" userId="S::thomas.stensitzki@granikos.eu::75cafe6b-2f2a-469b-85c4-eec3b9c972ba" providerId="AD" clId="Web-{B54B06DF-100B-44E6-958F-2F982B87E4AB}" dt="2023-05-23T09:02:55.815" v="114" actId="1076"/>
        <pc:sldMkLst>
          <pc:docMk/>
          <pc:sldMk cId="2951801347" sldId="721"/>
        </pc:sldMkLst>
        <pc:spChg chg="mod">
          <ac:chgData name="Thomas Stensitzki" userId="S::thomas.stensitzki@granikos.eu::75cafe6b-2f2a-469b-85c4-eec3b9c972ba" providerId="AD" clId="Web-{B54B06DF-100B-44E6-958F-2F982B87E4AB}" dt="2023-05-23T09:02:55.815" v="114" actId="1076"/>
          <ac:spMkLst>
            <pc:docMk/>
            <pc:sldMk cId="2951801347" sldId="721"/>
            <ac:spMk id="2" creationId="{909DC09D-B9A6-4493-9A72-1CA7ECB1F5CA}"/>
          </ac:spMkLst>
        </pc:spChg>
      </pc:sldChg>
      <pc:sldChg chg="modSp add ord replId">
        <pc:chgData name="Thomas Stensitzki" userId="S::thomas.stensitzki@granikos.eu::75cafe6b-2f2a-469b-85c4-eec3b9c972ba" providerId="AD" clId="Web-{B54B06DF-100B-44E6-958F-2F982B87E4AB}" dt="2023-05-23T09:03:52.020" v="121" actId="14100"/>
        <pc:sldMkLst>
          <pc:docMk/>
          <pc:sldMk cId="286203048" sldId="722"/>
        </pc:sldMkLst>
        <pc:spChg chg="mod">
          <ac:chgData name="Thomas Stensitzki" userId="S::thomas.stensitzki@granikos.eu::75cafe6b-2f2a-469b-85c4-eec3b9c972ba" providerId="AD" clId="Web-{B54B06DF-100B-44E6-958F-2F982B87E4AB}" dt="2023-05-23T09:03:52.020" v="121" actId="14100"/>
          <ac:spMkLst>
            <pc:docMk/>
            <pc:sldMk cId="286203048" sldId="722"/>
            <ac:spMk id="2" creationId="{909DC09D-B9A6-4493-9A72-1CA7ECB1F5CA}"/>
          </ac:spMkLst>
        </pc:spChg>
      </pc:sldChg>
      <pc:sldChg chg="modSp add ord replId">
        <pc:chgData name="Thomas Stensitzki" userId="S::thomas.stensitzki@granikos.eu::75cafe6b-2f2a-469b-85c4-eec3b9c972ba" providerId="AD" clId="Web-{B54B06DF-100B-44E6-958F-2F982B87E4AB}" dt="2023-05-23T09:04:08.005" v="124" actId="1076"/>
        <pc:sldMkLst>
          <pc:docMk/>
          <pc:sldMk cId="3113072159" sldId="723"/>
        </pc:sldMkLst>
        <pc:spChg chg="mod">
          <ac:chgData name="Thomas Stensitzki" userId="S::thomas.stensitzki@granikos.eu::75cafe6b-2f2a-469b-85c4-eec3b9c972ba" providerId="AD" clId="Web-{B54B06DF-100B-44E6-958F-2F982B87E4AB}" dt="2023-05-23T09:04:08.005" v="124" actId="1076"/>
          <ac:spMkLst>
            <pc:docMk/>
            <pc:sldMk cId="3113072159" sldId="723"/>
            <ac:spMk id="2" creationId="{909DC09D-B9A6-4493-9A72-1CA7ECB1F5CA}"/>
          </ac:spMkLst>
        </pc:spChg>
      </pc:sldChg>
      <pc:sldChg chg="modSp add ord replId">
        <pc:chgData name="Thomas Stensitzki" userId="S::thomas.stensitzki@granikos.eu::75cafe6b-2f2a-469b-85c4-eec3b9c972ba" providerId="AD" clId="Web-{B54B06DF-100B-44E6-958F-2F982B87E4AB}" dt="2023-05-23T09:04:23.068" v="127" actId="1076"/>
        <pc:sldMkLst>
          <pc:docMk/>
          <pc:sldMk cId="3469518411" sldId="724"/>
        </pc:sldMkLst>
        <pc:spChg chg="mod">
          <ac:chgData name="Thomas Stensitzki" userId="S::thomas.stensitzki@granikos.eu::75cafe6b-2f2a-469b-85c4-eec3b9c972ba" providerId="AD" clId="Web-{B54B06DF-100B-44E6-958F-2F982B87E4AB}" dt="2023-05-23T09:04:23.068" v="127" actId="1076"/>
          <ac:spMkLst>
            <pc:docMk/>
            <pc:sldMk cId="3469518411" sldId="724"/>
            <ac:spMk id="2" creationId="{909DC09D-B9A6-4493-9A72-1CA7ECB1F5CA}"/>
          </ac:spMkLst>
        </pc:spChg>
      </pc:sldChg>
      <pc:sldChg chg="add ord replId">
        <pc:chgData name="Thomas Stensitzki" userId="S::thomas.stensitzki@granikos.eu::75cafe6b-2f2a-469b-85c4-eec3b9c972ba" providerId="AD" clId="Web-{B54B06DF-100B-44E6-958F-2F982B87E4AB}" dt="2023-05-23T09:05:01.429" v="129"/>
        <pc:sldMkLst>
          <pc:docMk/>
          <pc:sldMk cId="1002613873" sldId="725"/>
        </pc:sldMkLst>
      </pc:sldChg>
      <pc:sldChg chg="add ord replId">
        <pc:chgData name="Thomas Stensitzki" userId="S::thomas.stensitzki@granikos.eu::75cafe6b-2f2a-469b-85c4-eec3b9c972ba" providerId="AD" clId="Web-{B54B06DF-100B-44E6-958F-2F982B87E4AB}" dt="2023-05-23T09:05:24.477" v="131"/>
        <pc:sldMkLst>
          <pc:docMk/>
          <pc:sldMk cId="1629876044" sldId="726"/>
        </pc:sldMkLst>
      </pc:sldChg>
    </pc:docChg>
  </pc:docChgLst>
  <pc:docChgLst>
    <pc:chgData name="Thomas Stensitzki" userId="75cafe6b-2f2a-469b-85c4-eec3b9c972ba" providerId="ADAL" clId="{B1462F1E-0CE4-4310-BDB3-DCDEDFDFEA3A}"/>
    <pc:docChg chg="undo custSel addSld delSld modSld sldOrd modSection replTag">
      <pc:chgData name="Thomas Stensitzki" userId="75cafe6b-2f2a-469b-85c4-eec3b9c972ba" providerId="ADAL" clId="{B1462F1E-0CE4-4310-BDB3-DCDEDFDFEA3A}" dt="2023-10-31T11:27:18.103" v="3101" actId="14100"/>
      <pc:docMkLst>
        <pc:docMk/>
      </pc:docMkLst>
      <pc:sldChg chg="modSp mod">
        <pc:chgData name="Thomas Stensitzki" userId="75cafe6b-2f2a-469b-85c4-eec3b9c972ba" providerId="ADAL" clId="{B1462F1E-0CE4-4310-BDB3-DCDEDFDFEA3A}" dt="2023-08-14T14:43:50.882" v="37" actId="20577"/>
        <pc:sldMkLst>
          <pc:docMk/>
          <pc:sldMk cId="671489701" sldId="256"/>
        </pc:sldMkLst>
        <pc:spChg chg="mod">
          <ac:chgData name="Thomas Stensitzki" userId="75cafe6b-2f2a-469b-85c4-eec3b9c972ba" providerId="ADAL" clId="{B1462F1E-0CE4-4310-BDB3-DCDEDFDFEA3A}" dt="2023-08-14T14:43:50.882" v="37" actId="20577"/>
          <ac:spMkLst>
            <pc:docMk/>
            <pc:sldMk cId="671489701" sldId="256"/>
            <ac:spMk id="3" creationId="{CBA95633-B02D-4A15-A8B1-A38E0A70FD27}"/>
          </ac:spMkLst>
        </pc:spChg>
      </pc:sldChg>
      <pc:sldChg chg="addSp modSp mod">
        <pc:chgData name="Thomas Stensitzki" userId="75cafe6b-2f2a-469b-85c4-eec3b9c972ba" providerId="ADAL" clId="{B1462F1E-0CE4-4310-BDB3-DCDEDFDFEA3A}" dt="2023-10-22T09:53:19.410" v="1631" actId="1076"/>
        <pc:sldMkLst>
          <pc:docMk/>
          <pc:sldMk cId="2855324227" sldId="257"/>
        </pc:sldMkLst>
        <pc:spChg chg="mod">
          <ac:chgData name="Thomas Stensitzki" userId="75cafe6b-2f2a-469b-85c4-eec3b9c972ba" providerId="ADAL" clId="{B1462F1E-0CE4-4310-BDB3-DCDEDFDFEA3A}" dt="2023-10-21T14:39:13.988" v="366" actId="6549"/>
          <ac:spMkLst>
            <pc:docMk/>
            <pc:sldMk cId="2855324227" sldId="257"/>
            <ac:spMk id="5" creationId="{EE6719E1-4DB6-4D58-BA77-937CF975247C}"/>
          </ac:spMkLst>
        </pc:spChg>
        <pc:graphicFrameChg chg="mod modGraphic">
          <ac:chgData name="Thomas Stensitzki" userId="75cafe6b-2f2a-469b-85c4-eec3b9c972ba" providerId="ADAL" clId="{B1462F1E-0CE4-4310-BDB3-DCDEDFDFEA3A}" dt="2023-10-22T09:07:47.499" v="436" actId="790"/>
          <ac:graphicFrameMkLst>
            <pc:docMk/>
            <pc:sldMk cId="2855324227" sldId="257"/>
            <ac:graphicFrameMk id="6" creationId="{0F955DCC-462D-431D-BBDE-26F10687D590}"/>
          </ac:graphicFrameMkLst>
        </pc:graphicFrameChg>
        <pc:picChg chg="add mod">
          <ac:chgData name="Thomas Stensitzki" userId="75cafe6b-2f2a-469b-85c4-eec3b9c972ba" providerId="ADAL" clId="{B1462F1E-0CE4-4310-BDB3-DCDEDFDFEA3A}" dt="2023-10-22T09:53:19.410" v="1631" actId="1076"/>
          <ac:picMkLst>
            <pc:docMk/>
            <pc:sldMk cId="2855324227" sldId="257"/>
            <ac:picMk id="3" creationId="{7E9BCC18-41F2-6905-F148-849B8FE8CF63}"/>
          </ac:picMkLst>
        </pc:picChg>
      </pc:sldChg>
      <pc:sldChg chg="modSp mod">
        <pc:chgData name="Thomas Stensitzki" userId="75cafe6b-2f2a-469b-85c4-eec3b9c972ba" providerId="ADAL" clId="{B1462F1E-0CE4-4310-BDB3-DCDEDFDFEA3A}" dt="2023-10-21T14:46:55.753" v="426" actId="6549"/>
        <pc:sldMkLst>
          <pc:docMk/>
          <pc:sldMk cId="3332792154" sldId="258"/>
        </pc:sldMkLst>
        <pc:spChg chg="mod">
          <ac:chgData name="Thomas Stensitzki" userId="75cafe6b-2f2a-469b-85c4-eec3b9c972ba" providerId="ADAL" clId="{B1462F1E-0CE4-4310-BDB3-DCDEDFDFEA3A}" dt="2023-10-21T14:46:55.753" v="426" actId="6549"/>
          <ac:spMkLst>
            <pc:docMk/>
            <pc:sldMk cId="3332792154" sldId="258"/>
            <ac:spMk id="3" creationId="{3A5A44EB-7FB9-473A-8ED3-C49DDD2E65AB}"/>
          </ac:spMkLst>
        </pc:spChg>
      </pc:sldChg>
      <pc:sldChg chg="add ord">
        <pc:chgData name="Thomas Stensitzki" userId="75cafe6b-2f2a-469b-85c4-eec3b9c972ba" providerId="ADAL" clId="{B1462F1E-0CE4-4310-BDB3-DCDEDFDFEA3A}" dt="2023-10-21T14:36:39.998" v="336"/>
        <pc:sldMkLst>
          <pc:docMk/>
          <pc:sldMk cId="1545829058" sldId="259"/>
        </pc:sldMkLst>
      </pc:sldChg>
      <pc:sldChg chg="modSp mod">
        <pc:chgData name="Thomas Stensitzki" userId="75cafe6b-2f2a-469b-85c4-eec3b9c972ba" providerId="ADAL" clId="{B1462F1E-0CE4-4310-BDB3-DCDEDFDFEA3A}" dt="2023-10-22T09:55:46.807" v="1633" actId="790"/>
        <pc:sldMkLst>
          <pc:docMk/>
          <pc:sldMk cId="2698998357" sldId="260"/>
        </pc:sldMkLst>
        <pc:spChg chg="mod">
          <ac:chgData name="Thomas Stensitzki" userId="75cafe6b-2f2a-469b-85c4-eec3b9c972ba" providerId="ADAL" clId="{B1462F1E-0CE4-4310-BDB3-DCDEDFDFEA3A}" dt="2023-10-22T09:55:46.807" v="1633" actId="790"/>
          <ac:spMkLst>
            <pc:docMk/>
            <pc:sldMk cId="2698998357" sldId="260"/>
            <ac:spMk id="4" creationId="{F3A15CBD-C746-44A3-A4F0-4898CE2F02E6}"/>
          </ac:spMkLst>
        </pc:spChg>
        <pc:spChg chg="mod">
          <ac:chgData name="Thomas Stensitzki" userId="75cafe6b-2f2a-469b-85c4-eec3b9c972ba" providerId="ADAL" clId="{B1462F1E-0CE4-4310-BDB3-DCDEDFDFEA3A}" dt="2023-10-21T14:40:34.676" v="397" actId="20577"/>
          <ac:spMkLst>
            <pc:docMk/>
            <pc:sldMk cId="2698998357" sldId="260"/>
            <ac:spMk id="5" creationId="{F3459BE7-1731-4733-A912-12977C68CFD6}"/>
          </ac:spMkLst>
        </pc:spChg>
      </pc:sldChg>
      <pc:sldChg chg="modSp mod">
        <pc:chgData name="Thomas Stensitzki" userId="75cafe6b-2f2a-469b-85c4-eec3b9c972ba" providerId="ADAL" clId="{B1462F1E-0CE4-4310-BDB3-DCDEDFDFEA3A}" dt="2023-10-22T09:09:02.104" v="438" actId="6549"/>
        <pc:sldMkLst>
          <pc:docMk/>
          <pc:sldMk cId="4007670073" sldId="268"/>
        </pc:sldMkLst>
        <pc:spChg chg="mod">
          <ac:chgData name="Thomas Stensitzki" userId="75cafe6b-2f2a-469b-85c4-eec3b9c972ba" providerId="ADAL" clId="{B1462F1E-0CE4-4310-BDB3-DCDEDFDFEA3A}" dt="2023-10-22T09:09:02.104" v="438" actId="6549"/>
          <ac:spMkLst>
            <pc:docMk/>
            <pc:sldMk cId="4007670073" sldId="268"/>
            <ac:spMk id="5" creationId="{F3459BE7-1731-4733-A912-12977C68CFD6}"/>
          </ac:spMkLst>
        </pc:spChg>
      </pc:sldChg>
      <pc:sldChg chg="modSp mod">
        <pc:chgData name="Thomas Stensitzki" userId="75cafe6b-2f2a-469b-85c4-eec3b9c972ba" providerId="ADAL" clId="{B1462F1E-0CE4-4310-BDB3-DCDEDFDFEA3A}" dt="2023-10-21T14:46:08.014" v="409" actId="6549"/>
        <pc:sldMkLst>
          <pc:docMk/>
          <pc:sldMk cId="2721051844" sldId="269"/>
        </pc:sldMkLst>
        <pc:spChg chg="mod">
          <ac:chgData name="Thomas Stensitzki" userId="75cafe6b-2f2a-469b-85c4-eec3b9c972ba" providerId="ADAL" clId="{B1462F1E-0CE4-4310-BDB3-DCDEDFDFEA3A}" dt="2023-10-21T14:46:08.014" v="409" actId="6549"/>
          <ac:spMkLst>
            <pc:docMk/>
            <pc:sldMk cId="2721051844" sldId="269"/>
            <ac:spMk id="5" creationId="{C24DACB5-1BEC-4C86-9652-BAFD8DE56FEF}"/>
          </ac:spMkLst>
        </pc:spChg>
      </pc:sldChg>
      <pc:sldChg chg="modSp mod">
        <pc:chgData name="Thomas Stensitzki" userId="75cafe6b-2f2a-469b-85c4-eec3b9c972ba" providerId="ADAL" clId="{B1462F1E-0CE4-4310-BDB3-DCDEDFDFEA3A}" dt="2023-10-22T10:04:41.354" v="2023"/>
        <pc:sldMkLst>
          <pc:docMk/>
          <pc:sldMk cId="2227487991" sldId="378"/>
        </pc:sldMkLst>
        <pc:spChg chg="mod">
          <ac:chgData name="Thomas Stensitzki" userId="75cafe6b-2f2a-469b-85c4-eec3b9c972ba" providerId="ADAL" clId="{B1462F1E-0CE4-4310-BDB3-DCDEDFDFEA3A}" dt="2023-10-22T09:24:54.961" v="745" actId="14100"/>
          <ac:spMkLst>
            <pc:docMk/>
            <pc:sldMk cId="2227487991" sldId="378"/>
            <ac:spMk id="2" creationId="{909DC09D-B9A6-4493-9A72-1CA7ECB1F5CA}"/>
          </ac:spMkLst>
        </pc:spChg>
        <pc:spChg chg="mod">
          <ac:chgData name="Thomas Stensitzki" userId="75cafe6b-2f2a-469b-85c4-eec3b9c972ba" providerId="ADAL" clId="{B1462F1E-0CE4-4310-BDB3-DCDEDFDFEA3A}" dt="2023-10-22T10:04:41.354" v="2023"/>
          <ac:spMkLst>
            <pc:docMk/>
            <pc:sldMk cId="2227487991" sldId="378"/>
            <ac:spMk id="5" creationId="{C24DACB5-1BEC-4C86-9652-BAFD8DE56FEF}"/>
          </ac:spMkLst>
        </pc:spChg>
      </pc:sldChg>
      <pc:sldChg chg="modSp mod">
        <pc:chgData name="Thomas Stensitzki" userId="75cafe6b-2f2a-469b-85c4-eec3b9c972ba" providerId="ADAL" clId="{B1462F1E-0CE4-4310-BDB3-DCDEDFDFEA3A}" dt="2023-10-26T09:27:33.858" v="2515" actId="14100"/>
        <pc:sldMkLst>
          <pc:docMk/>
          <pc:sldMk cId="3797754622" sldId="515"/>
        </pc:sldMkLst>
        <pc:spChg chg="mod">
          <ac:chgData name="Thomas Stensitzki" userId="75cafe6b-2f2a-469b-85c4-eec3b9c972ba" providerId="ADAL" clId="{B1462F1E-0CE4-4310-BDB3-DCDEDFDFEA3A}" dt="2023-10-26T09:27:33.858" v="2515" actId="14100"/>
          <ac:spMkLst>
            <pc:docMk/>
            <pc:sldMk cId="3797754622" sldId="515"/>
            <ac:spMk id="2" creationId="{909DC09D-B9A6-4493-9A72-1CA7ECB1F5CA}"/>
          </ac:spMkLst>
        </pc:spChg>
        <pc:spChg chg="mod">
          <ac:chgData name="Thomas Stensitzki" userId="75cafe6b-2f2a-469b-85c4-eec3b9c972ba" providerId="ADAL" clId="{B1462F1E-0CE4-4310-BDB3-DCDEDFDFEA3A}" dt="2023-10-22T09:38:34.294" v="1033"/>
          <ac:spMkLst>
            <pc:docMk/>
            <pc:sldMk cId="3797754622" sldId="515"/>
            <ac:spMk id="5" creationId="{C24DACB5-1BEC-4C86-9652-BAFD8DE56FEF}"/>
          </ac:spMkLst>
        </pc:spChg>
      </pc:sldChg>
      <pc:sldChg chg="del">
        <pc:chgData name="Thomas Stensitzki" userId="75cafe6b-2f2a-469b-85c4-eec3b9c972ba" providerId="ADAL" clId="{B1462F1E-0CE4-4310-BDB3-DCDEDFDFEA3A}" dt="2023-08-14T14:44:30.908" v="71" actId="47"/>
        <pc:sldMkLst>
          <pc:docMk/>
          <pc:sldMk cId="1051205786" sldId="607"/>
        </pc:sldMkLst>
      </pc:sldChg>
      <pc:sldChg chg="modSp mod">
        <pc:chgData name="Thomas Stensitzki" userId="75cafe6b-2f2a-469b-85c4-eec3b9c972ba" providerId="ADAL" clId="{B1462F1E-0CE4-4310-BDB3-DCDEDFDFEA3A}" dt="2023-10-21T14:40:50.779" v="402" actId="6549"/>
        <pc:sldMkLst>
          <pc:docMk/>
          <pc:sldMk cId="1962477249" sldId="659"/>
        </pc:sldMkLst>
        <pc:spChg chg="mod">
          <ac:chgData name="Thomas Stensitzki" userId="75cafe6b-2f2a-469b-85c4-eec3b9c972ba" providerId="ADAL" clId="{B1462F1E-0CE4-4310-BDB3-DCDEDFDFEA3A}" dt="2023-10-21T14:40:50.779" v="402" actId="6549"/>
          <ac:spMkLst>
            <pc:docMk/>
            <pc:sldMk cId="1962477249" sldId="659"/>
            <ac:spMk id="5" creationId="{F3459BE7-1731-4733-A912-12977C68CFD6}"/>
          </ac:spMkLst>
        </pc:spChg>
      </pc:sldChg>
      <pc:sldChg chg="modSp mod">
        <pc:chgData name="Thomas Stensitzki" userId="75cafe6b-2f2a-469b-85c4-eec3b9c972ba" providerId="ADAL" clId="{B1462F1E-0CE4-4310-BDB3-DCDEDFDFEA3A}" dt="2023-08-14T14:44:52.707" v="75" actId="20577"/>
        <pc:sldMkLst>
          <pc:docMk/>
          <pc:sldMk cId="4212332529" sldId="661"/>
        </pc:sldMkLst>
        <pc:spChg chg="mod">
          <ac:chgData name="Thomas Stensitzki" userId="75cafe6b-2f2a-469b-85c4-eec3b9c972ba" providerId="ADAL" clId="{B1462F1E-0CE4-4310-BDB3-DCDEDFDFEA3A}" dt="2023-08-14T14:44:52.707" v="75" actId="20577"/>
          <ac:spMkLst>
            <pc:docMk/>
            <pc:sldMk cId="4212332529" sldId="661"/>
            <ac:spMk id="4" creationId="{F3A15CBD-C746-44A3-A4F0-4898CE2F02E6}"/>
          </ac:spMkLst>
        </pc:spChg>
      </pc:sldChg>
      <pc:sldChg chg="del">
        <pc:chgData name="Thomas Stensitzki" userId="75cafe6b-2f2a-469b-85c4-eec3b9c972ba" providerId="ADAL" clId="{B1462F1E-0CE4-4310-BDB3-DCDEDFDFEA3A}" dt="2023-08-14T14:44:46.963" v="73" actId="47"/>
        <pc:sldMkLst>
          <pc:docMk/>
          <pc:sldMk cId="1002613873" sldId="725"/>
        </pc:sldMkLst>
      </pc:sldChg>
      <pc:sldChg chg="addSp modSp mod">
        <pc:chgData name="Thomas Stensitzki" userId="75cafe6b-2f2a-469b-85c4-eec3b9c972ba" providerId="ADAL" clId="{B1462F1E-0CE4-4310-BDB3-DCDEDFDFEA3A}" dt="2023-10-21T14:38:56.658" v="365" actId="1076"/>
        <pc:sldMkLst>
          <pc:docMk/>
          <pc:sldMk cId="980172925" sldId="741"/>
        </pc:sldMkLst>
        <pc:spChg chg="add mod">
          <ac:chgData name="Thomas Stensitzki" userId="75cafe6b-2f2a-469b-85c4-eec3b9c972ba" providerId="ADAL" clId="{B1462F1E-0CE4-4310-BDB3-DCDEDFDFEA3A}" dt="2023-10-21T14:38:28.476" v="360" actId="20577"/>
          <ac:spMkLst>
            <pc:docMk/>
            <pc:sldMk cId="980172925" sldId="741"/>
            <ac:spMk id="2" creationId="{EC6809E7-B0BE-CA65-ACDC-5D372BBD27CD}"/>
          </ac:spMkLst>
        </pc:spChg>
        <pc:picChg chg="mod">
          <ac:chgData name="Thomas Stensitzki" userId="75cafe6b-2f2a-469b-85c4-eec3b9c972ba" providerId="ADAL" clId="{B1462F1E-0CE4-4310-BDB3-DCDEDFDFEA3A}" dt="2023-10-21T14:38:56.658" v="365" actId="1076"/>
          <ac:picMkLst>
            <pc:docMk/>
            <pc:sldMk cId="980172925" sldId="741"/>
            <ac:picMk id="1026" creationId="{A56E732E-05A6-05FC-08CC-655BB585349B}"/>
          </ac:picMkLst>
        </pc:picChg>
      </pc:sldChg>
      <pc:sldChg chg="addSp delSp modSp new mod ord">
        <pc:chgData name="Thomas Stensitzki" userId="75cafe6b-2f2a-469b-85c4-eec3b9c972ba" providerId="ADAL" clId="{B1462F1E-0CE4-4310-BDB3-DCDEDFDFEA3A}" dt="2023-10-26T09:28:08.453" v="2530"/>
        <pc:sldMkLst>
          <pc:docMk/>
          <pc:sldMk cId="1317116280" sldId="742"/>
        </pc:sldMkLst>
        <pc:spChg chg="mod">
          <ac:chgData name="Thomas Stensitzki" userId="75cafe6b-2f2a-469b-85c4-eec3b9c972ba" providerId="ADAL" clId="{B1462F1E-0CE4-4310-BDB3-DCDEDFDFEA3A}" dt="2023-10-22T09:12:42.301" v="444"/>
          <ac:spMkLst>
            <pc:docMk/>
            <pc:sldMk cId="1317116280" sldId="742"/>
            <ac:spMk id="2" creationId="{378DB6C1-23E6-ED5F-EE82-809596779B25}"/>
          </ac:spMkLst>
        </pc:spChg>
        <pc:spChg chg="del">
          <ac:chgData name="Thomas Stensitzki" userId="75cafe6b-2f2a-469b-85c4-eec3b9c972ba" providerId="ADAL" clId="{B1462F1E-0CE4-4310-BDB3-DCDEDFDFEA3A}" dt="2023-10-22T09:14:24.777" v="445" actId="478"/>
          <ac:spMkLst>
            <pc:docMk/>
            <pc:sldMk cId="1317116280" sldId="742"/>
            <ac:spMk id="3" creationId="{BC6AA501-4554-8DFD-A7C9-9DDA1E27921C}"/>
          </ac:spMkLst>
        </pc:spChg>
        <pc:spChg chg="add mod">
          <ac:chgData name="Thomas Stensitzki" userId="75cafe6b-2f2a-469b-85c4-eec3b9c972ba" providerId="ADAL" clId="{B1462F1E-0CE4-4310-BDB3-DCDEDFDFEA3A}" dt="2023-10-22T09:18:00.823" v="500" actId="20577"/>
          <ac:spMkLst>
            <pc:docMk/>
            <pc:sldMk cId="1317116280" sldId="742"/>
            <ac:spMk id="4" creationId="{8D785377-9608-B44E-3A78-4A4C1101B9B5}"/>
          </ac:spMkLst>
        </pc:spChg>
        <pc:spChg chg="add mod">
          <ac:chgData name="Thomas Stensitzki" userId="75cafe6b-2f2a-469b-85c4-eec3b9c972ba" providerId="ADAL" clId="{B1462F1E-0CE4-4310-BDB3-DCDEDFDFEA3A}" dt="2023-10-22T09:18:59.858" v="557" actId="20577"/>
          <ac:spMkLst>
            <pc:docMk/>
            <pc:sldMk cId="1317116280" sldId="742"/>
            <ac:spMk id="6" creationId="{5EE65999-F6D7-3033-7601-0BA8AF9CC78C}"/>
          </ac:spMkLst>
        </pc:spChg>
        <pc:picChg chg="add mod">
          <ac:chgData name="Thomas Stensitzki" userId="75cafe6b-2f2a-469b-85c4-eec3b9c972ba" providerId="ADAL" clId="{B1462F1E-0CE4-4310-BDB3-DCDEDFDFEA3A}" dt="2023-10-22T09:17:31.633" v="478" actId="1076"/>
          <ac:picMkLst>
            <pc:docMk/>
            <pc:sldMk cId="1317116280" sldId="742"/>
            <ac:picMk id="1026" creationId="{1E707FB8-1F61-439E-98E5-11D070D647A3}"/>
          </ac:picMkLst>
        </pc:picChg>
      </pc:sldChg>
      <pc:sldChg chg="del">
        <pc:chgData name="Thomas Stensitzki" userId="75cafe6b-2f2a-469b-85c4-eec3b9c972ba" providerId="ADAL" clId="{B1462F1E-0CE4-4310-BDB3-DCDEDFDFEA3A}" dt="2023-08-14T14:44:46.963" v="73" actId="47"/>
        <pc:sldMkLst>
          <pc:docMk/>
          <pc:sldMk cId="3557551175" sldId="742"/>
        </pc:sldMkLst>
      </pc:sldChg>
      <pc:sldChg chg="addSp modSp new add del mod">
        <pc:chgData name="Thomas Stensitzki" userId="75cafe6b-2f2a-469b-85c4-eec3b9c972ba" providerId="ADAL" clId="{B1462F1E-0CE4-4310-BDB3-DCDEDFDFEA3A}" dt="2023-10-22T09:26:54.438" v="760" actId="14734"/>
        <pc:sldMkLst>
          <pc:docMk/>
          <pc:sldMk cId="2889031269" sldId="743"/>
        </pc:sldMkLst>
        <pc:spChg chg="mod">
          <ac:chgData name="Thomas Stensitzki" userId="75cafe6b-2f2a-469b-85c4-eec3b9c972ba" providerId="ADAL" clId="{B1462F1E-0CE4-4310-BDB3-DCDEDFDFEA3A}" dt="2023-10-22T09:25:07.665" v="749"/>
          <ac:spMkLst>
            <pc:docMk/>
            <pc:sldMk cId="2889031269" sldId="743"/>
            <ac:spMk id="2" creationId="{AFA7D926-B298-6830-885B-70FEA34BC6A0}"/>
          </ac:spMkLst>
        </pc:spChg>
        <pc:spChg chg="mod">
          <ac:chgData name="Thomas Stensitzki" userId="75cafe6b-2f2a-469b-85c4-eec3b9c972ba" providerId="ADAL" clId="{B1462F1E-0CE4-4310-BDB3-DCDEDFDFEA3A}" dt="2023-10-22T09:25:23.249" v="753" actId="20577"/>
          <ac:spMkLst>
            <pc:docMk/>
            <pc:sldMk cId="2889031269" sldId="743"/>
            <ac:spMk id="3" creationId="{B0A1ED5E-E6A0-63A2-B868-1905B5100128}"/>
          </ac:spMkLst>
        </pc:spChg>
        <pc:graphicFrameChg chg="add mod modGraphic">
          <ac:chgData name="Thomas Stensitzki" userId="75cafe6b-2f2a-469b-85c4-eec3b9c972ba" providerId="ADAL" clId="{B1462F1E-0CE4-4310-BDB3-DCDEDFDFEA3A}" dt="2023-10-22T09:26:54.438" v="760" actId="14734"/>
          <ac:graphicFrameMkLst>
            <pc:docMk/>
            <pc:sldMk cId="2889031269" sldId="743"/>
            <ac:graphicFrameMk id="4" creationId="{922610F1-359B-96CE-BFA6-0181A99DA140}"/>
          </ac:graphicFrameMkLst>
        </pc:graphicFrameChg>
      </pc:sldChg>
      <pc:sldChg chg="del">
        <pc:chgData name="Thomas Stensitzki" userId="75cafe6b-2f2a-469b-85c4-eec3b9c972ba" providerId="ADAL" clId="{B1462F1E-0CE4-4310-BDB3-DCDEDFDFEA3A}" dt="2023-08-14T14:44:46.963" v="73" actId="47"/>
        <pc:sldMkLst>
          <pc:docMk/>
          <pc:sldMk cId="3417373465" sldId="743"/>
        </pc:sldMkLst>
      </pc:sldChg>
      <pc:sldChg chg="add">
        <pc:chgData name="Thomas Stensitzki" userId="75cafe6b-2f2a-469b-85c4-eec3b9c972ba" providerId="ADAL" clId="{B1462F1E-0CE4-4310-BDB3-DCDEDFDFEA3A}" dt="2023-10-22T09:25:03.898" v="748" actId="2890"/>
        <pc:sldMkLst>
          <pc:docMk/>
          <pc:sldMk cId="1784627537" sldId="744"/>
        </pc:sldMkLst>
      </pc:sldChg>
      <pc:sldChg chg="del">
        <pc:chgData name="Thomas Stensitzki" userId="75cafe6b-2f2a-469b-85c4-eec3b9c972ba" providerId="ADAL" clId="{B1462F1E-0CE4-4310-BDB3-DCDEDFDFEA3A}" dt="2023-08-14T14:44:39.723" v="72" actId="47"/>
        <pc:sldMkLst>
          <pc:docMk/>
          <pc:sldMk cId="2876131910" sldId="744"/>
        </pc:sldMkLst>
      </pc:sldChg>
      <pc:sldChg chg="del">
        <pc:chgData name="Thomas Stensitzki" userId="75cafe6b-2f2a-469b-85c4-eec3b9c972ba" providerId="ADAL" clId="{B1462F1E-0CE4-4310-BDB3-DCDEDFDFEA3A}" dt="2023-08-14T14:44:46.963" v="73" actId="47"/>
        <pc:sldMkLst>
          <pc:docMk/>
          <pc:sldMk cId="647126880" sldId="745"/>
        </pc:sldMkLst>
      </pc:sldChg>
      <pc:sldChg chg="modSp new mod">
        <pc:chgData name="Thomas Stensitzki" userId="75cafe6b-2f2a-469b-85c4-eec3b9c972ba" providerId="ADAL" clId="{B1462F1E-0CE4-4310-BDB3-DCDEDFDFEA3A}" dt="2023-10-22T09:28:32.548" v="797" actId="6549"/>
        <pc:sldMkLst>
          <pc:docMk/>
          <pc:sldMk cId="3716288060" sldId="745"/>
        </pc:sldMkLst>
        <pc:spChg chg="mod">
          <ac:chgData name="Thomas Stensitzki" userId="75cafe6b-2f2a-469b-85c4-eec3b9c972ba" providerId="ADAL" clId="{B1462F1E-0CE4-4310-BDB3-DCDEDFDFEA3A}" dt="2023-10-22T09:27:56.825" v="772"/>
          <ac:spMkLst>
            <pc:docMk/>
            <pc:sldMk cId="3716288060" sldId="745"/>
            <ac:spMk id="2" creationId="{4C6E92F7-E82B-5E0F-DD08-269B216023C6}"/>
          </ac:spMkLst>
        </pc:spChg>
        <pc:spChg chg="mod">
          <ac:chgData name="Thomas Stensitzki" userId="75cafe6b-2f2a-469b-85c4-eec3b9c972ba" providerId="ADAL" clId="{B1462F1E-0CE4-4310-BDB3-DCDEDFDFEA3A}" dt="2023-10-22T09:28:32.548" v="797" actId="6549"/>
          <ac:spMkLst>
            <pc:docMk/>
            <pc:sldMk cId="3716288060" sldId="745"/>
            <ac:spMk id="3" creationId="{E39E24DF-BE42-72DD-D13C-D25071A45F3E}"/>
          </ac:spMkLst>
        </pc:spChg>
      </pc:sldChg>
      <pc:sldChg chg="addSp delSp modSp new mod modNotesTx">
        <pc:chgData name="Thomas Stensitzki" userId="75cafe6b-2f2a-469b-85c4-eec3b9c972ba" providerId="ADAL" clId="{B1462F1E-0CE4-4310-BDB3-DCDEDFDFEA3A}" dt="2023-10-26T09:27:13.539" v="2513" actId="404"/>
        <pc:sldMkLst>
          <pc:docMk/>
          <pc:sldMk cId="3235938383" sldId="746"/>
        </pc:sldMkLst>
        <pc:spChg chg="mod">
          <ac:chgData name="Thomas Stensitzki" userId="75cafe6b-2f2a-469b-85c4-eec3b9c972ba" providerId="ADAL" clId="{B1462F1E-0CE4-4310-BDB3-DCDEDFDFEA3A}" dt="2023-10-26T09:27:13.539" v="2513" actId="404"/>
          <ac:spMkLst>
            <pc:docMk/>
            <pc:sldMk cId="3235938383" sldId="746"/>
            <ac:spMk id="2" creationId="{5B3E3C9C-491A-4B34-49D2-5725241CAB77}"/>
          </ac:spMkLst>
        </pc:spChg>
        <pc:spChg chg="del">
          <ac:chgData name="Thomas Stensitzki" userId="75cafe6b-2f2a-469b-85c4-eec3b9c972ba" providerId="ADAL" clId="{B1462F1E-0CE4-4310-BDB3-DCDEDFDFEA3A}" dt="2023-10-22T09:29:06.755" v="803" actId="478"/>
          <ac:spMkLst>
            <pc:docMk/>
            <pc:sldMk cId="3235938383" sldId="746"/>
            <ac:spMk id="3" creationId="{519183E1-F5AD-0EAD-AB8B-A16A577DC012}"/>
          </ac:spMkLst>
        </pc:spChg>
        <pc:picChg chg="add mod">
          <ac:chgData name="Thomas Stensitzki" userId="75cafe6b-2f2a-469b-85c4-eec3b9c972ba" providerId="ADAL" clId="{B1462F1E-0CE4-4310-BDB3-DCDEDFDFEA3A}" dt="2023-10-22T09:29:17.902" v="806" actId="1076"/>
          <ac:picMkLst>
            <pc:docMk/>
            <pc:sldMk cId="3235938383" sldId="746"/>
            <ac:picMk id="3074" creationId="{53106B50-8682-6EA9-4D5D-577426E07AAA}"/>
          </ac:picMkLst>
        </pc:picChg>
      </pc:sldChg>
      <pc:sldChg chg="del">
        <pc:chgData name="Thomas Stensitzki" userId="75cafe6b-2f2a-469b-85c4-eec3b9c972ba" providerId="ADAL" clId="{B1462F1E-0CE4-4310-BDB3-DCDEDFDFEA3A}" dt="2023-08-14T14:44:46.963" v="73" actId="47"/>
        <pc:sldMkLst>
          <pc:docMk/>
          <pc:sldMk cId="4269955596" sldId="746"/>
        </pc:sldMkLst>
      </pc:sldChg>
      <pc:sldChg chg="addSp modSp new mod">
        <pc:chgData name="Thomas Stensitzki" userId="75cafe6b-2f2a-469b-85c4-eec3b9c972ba" providerId="ADAL" clId="{B1462F1E-0CE4-4310-BDB3-DCDEDFDFEA3A}" dt="2023-10-22T09:32:21.738" v="827" actId="1076"/>
        <pc:sldMkLst>
          <pc:docMk/>
          <pc:sldMk cId="1889968485" sldId="747"/>
        </pc:sldMkLst>
        <pc:spChg chg="mod">
          <ac:chgData name="Thomas Stensitzki" userId="75cafe6b-2f2a-469b-85c4-eec3b9c972ba" providerId="ADAL" clId="{B1462F1E-0CE4-4310-BDB3-DCDEDFDFEA3A}" dt="2023-10-22T09:30:04.718" v="811"/>
          <ac:spMkLst>
            <pc:docMk/>
            <pc:sldMk cId="1889968485" sldId="747"/>
            <ac:spMk id="2" creationId="{7BA52265-3DB5-A681-F96F-27320A35EB54}"/>
          </ac:spMkLst>
        </pc:spChg>
        <pc:spChg chg="mod">
          <ac:chgData name="Thomas Stensitzki" userId="75cafe6b-2f2a-469b-85c4-eec3b9c972ba" providerId="ADAL" clId="{B1462F1E-0CE4-4310-BDB3-DCDEDFDFEA3A}" dt="2023-10-22T09:30:48.560" v="815" actId="20577"/>
          <ac:spMkLst>
            <pc:docMk/>
            <pc:sldMk cId="1889968485" sldId="747"/>
            <ac:spMk id="3" creationId="{8706F04D-9E26-2AD6-47D7-4CC3B32EEABB}"/>
          </ac:spMkLst>
        </pc:spChg>
        <pc:picChg chg="add mod">
          <ac:chgData name="Thomas Stensitzki" userId="75cafe6b-2f2a-469b-85c4-eec3b9c972ba" providerId="ADAL" clId="{B1462F1E-0CE4-4310-BDB3-DCDEDFDFEA3A}" dt="2023-10-22T09:32:05.780" v="823" actId="14100"/>
          <ac:picMkLst>
            <pc:docMk/>
            <pc:sldMk cId="1889968485" sldId="747"/>
            <ac:picMk id="4098" creationId="{D73AD4C7-FB43-E86C-C0D8-D1374E432BC6}"/>
          </ac:picMkLst>
        </pc:picChg>
        <pc:picChg chg="add mod">
          <ac:chgData name="Thomas Stensitzki" userId="75cafe6b-2f2a-469b-85c4-eec3b9c972ba" providerId="ADAL" clId="{B1462F1E-0CE4-4310-BDB3-DCDEDFDFEA3A}" dt="2023-10-22T09:32:21.738" v="827" actId="1076"/>
          <ac:picMkLst>
            <pc:docMk/>
            <pc:sldMk cId="1889968485" sldId="747"/>
            <ac:picMk id="4100" creationId="{ADF3CAFC-0E08-EE5F-F477-91C87E8C729E}"/>
          </ac:picMkLst>
        </pc:picChg>
      </pc:sldChg>
      <pc:sldChg chg="del">
        <pc:chgData name="Thomas Stensitzki" userId="75cafe6b-2f2a-469b-85c4-eec3b9c972ba" providerId="ADAL" clId="{B1462F1E-0CE4-4310-BDB3-DCDEDFDFEA3A}" dt="2023-08-14T14:44:39.723" v="72" actId="47"/>
        <pc:sldMkLst>
          <pc:docMk/>
          <pc:sldMk cId="2976596190" sldId="747"/>
        </pc:sldMkLst>
      </pc:sldChg>
      <pc:sldChg chg="addSp delSp modSp add mod">
        <pc:chgData name="Thomas Stensitzki" userId="75cafe6b-2f2a-469b-85c4-eec3b9c972ba" providerId="ADAL" clId="{B1462F1E-0CE4-4310-BDB3-DCDEDFDFEA3A}" dt="2023-10-22T09:33:04.527" v="837" actId="478"/>
        <pc:sldMkLst>
          <pc:docMk/>
          <pc:sldMk cId="1375897934" sldId="748"/>
        </pc:sldMkLst>
        <pc:spChg chg="del">
          <ac:chgData name="Thomas Stensitzki" userId="75cafe6b-2f2a-469b-85c4-eec3b9c972ba" providerId="ADAL" clId="{B1462F1E-0CE4-4310-BDB3-DCDEDFDFEA3A}" dt="2023-10-22T09:32:44.791" v="831" actId="478"/>
          <ac:spMkLst>
            <pc:docMk/>
            <pc:sldMk cId="1375897934" sldId="748"/>
            <ac:spMk id="3" creationId="{8706F04D-9E26-2AD6-47D7-4CC3B32EEABB}"/>
          </ac:spMkLst>
        </pc:spChg>
        <pc:spChg chg="add del mod">
          <ac:chgData name="Thomas Stensitzki" userId="75cafe6b-2f2a-469b-85c4-eec3b9c972ba" providerId="ADAL" clId="{B1462F1E-0CE4-4310-BDB3-DCDEDFDFEA3A}" dt="2023-10-22T09:33:04.527" v="837" actId="478"/>
          <ac:spMkLst>
            <pc:docMk/>
            <pc:sldMk cId="1375897934" sldId="748"/>
            <ac:spMk id="5" creationId="{58A69A0F-AE67-A29D-686E-6F6A3814A2CA}"/>
          </ac:spMkLst>
        </pc:spChg>
        <pc:picChg chg="del">
          <ac:chgData name="Thomas Stensitzki" userId="75cafe6b-2f2a-469b-85c4-eec3b9c972ba" providerId="ADAL" clId="{B1462F1E-0CE4-4310-BDB3-DCDEDFDFEA3A}" dt="2023-10-22T09:32:42.449" v="829" actId="478"/>
          <ac:picMkLst>
            <pc:docMk/>
            <pc:sldMk cId="1375897934" sldId="748"/>
            <ac:picMk id="4098" creationId="{D73AD4C7-FB43-E86C-C0D8-D1374E432BC6}"/>
          </ac:picMkLst>
        </pc:picChg>
        <pc:picChg chg="del">
          <ac:chgData name="Thomas Stensitzki" userId="75cafe6b-2f2a-469b-85c4-eec3b9c972ba" providerId="ADAL" clId="{B1462F1E-0CE4-4310-BDB3-DCDEDFDFEA3A}" dt="2023-10-22T09:32:43.079" v="830" actId="478"/>
          <ac:picMkLst>
            <pc:docMk/>
            <pc:sldMk cId="1375897934" sldId="748"/>
            <ac:picMk id="4100" creationId="{ADF3CAFC-0E08-EE5F-F477-91C87E8C729E}"/>
          </ac:picMkLst>
        </pc:picChg>
        <pc:picChg chg="add mod">
          <ac:chgData name="Thomas Stensitzki" userId="75cafe6b-2f2a-469b-85c4-eec3b9c972ba" providerId="ADAL" clId="{B1462F1E-0CE4-4310-BDB3-DCDEDFDFEA3A}" dt="2023-10-22T09:33:01.293" v="836" actId="1076"/>
          <ac:picMkLst>
            <pc:docMk/>
            <pc:sldMk cId="1375897934" sldId="748"/>
            <ac:picMk id="5122" creationId="{807E35F9-5B86-FD00-9674-932C366C99DE}"/>
          </ac:picMkLst>
        </pc:picChg>
      </pc:sldChg>
      <pc:sldChg chg="del">
        <pc:chgData name="Thomas Stensitzki" userId="75cafe6b-2f2a-469b-85c4-eec3b9c972ba" providerId="ADAL" clId="{B1462F1E-0CE4-4310-BDB3-DCDEDFDFEA3A}" dt="2023-08-14T14:44:39.723" v="72" actId="47"/>
        <pc:sldMkLst>
          <pc:docMk/>
          <pc:sldMk cId="4294720854" sldId="748"/>
        </pc:sldMkLst>
      </pc:sldChg>
      <pc:sldChg chg="modSp new mod">
        <pc:chgData name="Thomas Stensitzki" userId="75cafe6b-2f2a-469b-85c4-eec3b9c972ba" providerId="ADAL" clId="{B1462F1E-0CE4-4310-BDB3-DCDEDFDFEA3A}" dt="2023-10-26T09:30:35.909" v="2540" actId="6549"/>
        <pc:sldMkLst>
          <pc:docMk/>
          <pc:sldMk cId="1278550352" sldId="749"/>
        </pc:sldMkLst>
        <pc:spChg chg="mod">
          <ac:chgData name="Thomas Stensitzki" userId="75cafe6b-2f2a-469b-85c4-eec3b9c972ba" providerId="ADAL" clId="{B1462F1E-0CE4-4310-BDB3-DCDEDFDFEA3A}" dt="2023-10-22T09:33:56.492" v="841"/>
          <ac:spMkLst>
            <pc:docMk/>
            <pc:sldMk cId="1278550352" sldId="749"/>
            <ac:spMk id="2" creationId="{8876B3AB-B16E-287E-1316-672F0258B59F}"/>
          </ac:spMkLst>
        </pc:spChg>
        <pc:spChg chg="mod">
          <ac:chgData name="Thomas Stensitzki" userId="75cafe6b-2f2a-469b-85c4-eec3b9c972ba" providerId="ADAL" clId="{B1462F1E-0CE4-4310-BDB3-DCDEDFDFEA3A}" dt="2023-10-26T09:30:35.909" v="2540" actId="6549"/>
          <ac:spMkLst>
            <pc:docMk/>
            <pc:sldMk cId="1278550352" sldId="749"/>
            <ac:spMk id="3" creationId="{6F71AECF-7BA4-6357-1CF7-55976CB658A2}"/>
          </ac:spMkLst>
        </pc:spChg>
      </pc:sldChg>
      <pc:sldChg chg="del">
        <pc:chgData name="Thomas Stensitzki" userId="75cafe6b-2f2a-469b-85c4-eec3b9c972ba" providerId="ADAL" clId="{B1462F1E-0CE4-4310-BDB3-DCDEDFDFEA3A}" dt="2023-08-14T14:44:39.723" v="72" actId="47"/>
        <pc:sldMkLst>
          <pc:docMk/>
          <pc:sldMk cId="2501624097" sldId="749"/>
        </pc:sldMkLst>
      </pc:sldChg>
      <pc:sldChg chg="modSp add mod">
        <pc:chgData name="Thomas Stensitzki" userId="75cafe6b-2f2a-469b-85c4-eec3b9c972ba" providerId="ADAL" clId="{B1462F1E-0CE4-4310-BDB3-DCDEDFDFEA3A}" dt="2023-10-22T09:38:09.725" v="1032" actId="20577"/>
        <pc:sldMkLst>
          <pc:docMk/>
          <pc:sldMk cId="381789784" sldId="750"/>
        </pc:sldMkLst>
        <pc:spChg chg="mod">
          <ac:chgData name="Thomas Stensitzki" userId="75cafe6b-2f2a-469b-85c4-eec3b9c972ba" providerId="ADAL" clId="{B1462F1E-0CE4-4310-BDB3-DCDEDFDFEA3A}" dt="2023-10-22T09:38:09.725" v="1032" actId="20577"/>
          <ac:spMkLst>
            <pc:docMk/>
            <pc:sldMk cId="381789784" sldId="750"/>
            <ac:spMk id="3" creationId="{6F71AECF-7BA4-6357-1CF7-55976CB658A2}"/>
          </ac:spMkLst>
        </pc:spChg>
      </pc:sldChg>
      <pc:sldChg chg="del">
        <pc:chgData name="Thomas Stensitzki" userId="75cafe6b-2f2a-469b-85c4-eec3b9c972ba" providerId="ADAL" clId="{B1462F1E-0CE4-4310-BDB3-DCDEDFDFEA3A}" dt="2023-08-14T14:44:39.723" v="72" actId="47"/>
        <pc:sldMkLst>
          <pc:docMk/>
          <pc:sldMk cId="2026815640" sldId="750"/>
        </pc:sldMkLst>
      </pc:sldChg>
      <pc:sldChg chg="addSp modSp new mod">
        <pc:chgData name="Thomas Stensitzki" userId="75cafe6b-2f2a-469b-85c4-eec3b9c972ba" providerId="ADAL" clId="{B1462F1E-0CE4-4310-BDB3-DCDEDFDFEA3A}" dt="2023-10-22T09:44:18.025" v="1328" actId="20577"/>
        <pc:sldMkLst>
          <pc:docMk/>
          <pc:sldMk cId="850467813" sldId="751"/>
        </pc:sldMkLst>
        <pc:spChg chg="mod">
          <ac:chgData name="Thomas Stensitzki" userId="75cafe6b-2f2a-469b-85c4-eec3b9c972ba" providerId="ADAL" clId="{B1462F1E-0CE4-4310-BDB3-DCDEDFDFEA3A}" dt="2023-10-22T09:38:41.188" v="1035"/>
          <ac:spMkLst>
            <pc:docMk/>
            <pc:sldMk cId="850467813" sldId="751"/>
            <ac:spMk id="2" creationId="{C78EAC81-864B-AA3C-02D2-FCFDCC05E799}"/>
          </ac:spMkLst>
        </pc:spChg>
        <pc:spChg chg="mod">
          <ac:chgData name="Thomas Stensitzki" userId="75cafe6b-2f2a-469b-85c4-eec3b9c972ba" providerId="ADAL" clId="{B1462F1E-0CE4-4310-BDB3-DCDEDFDFEA3A}" dt="2023-10-22T09:39:51.334" v="1037" actId="14100"/>
          <ac:spMkLst>
            <pc:docMk/>
            <pc:sldMk cId="850467813" sldId="751"/>
            <ac:spMk id="3" creationId="{4D4BEA8D-A210-D82C-3177-B513F5A60BD1}"/>
          </ac:spMkLst>
        </pc:spChg>
        <pc:graphicFrameChg chg="add mod modGraphic">
          <ac:chgData name="Thomas Stensitzki" userId="75cafe6b-2f2a-469b-85c4-eec3b9c972ba" providerId="ADAL" clId="{B1462F1E-0CE4-4310-BDB3-DCDEDFDFEA3A}" dt="2023-10-22T09:44:18.025" v="1328" actId="20577"/>
          <ac:graphicFrameMkLst>
            <pc:docMk/>
            <pc:sldMk cId="850467813" sldId="751"/>
            <ac:graphicFrameMk id="4" creationId="{AB2BAF3A-14CC-7EC2-1E5D-4A468DC169A3}"/>
          </ac:graphicFrameMkLst>
        </pc:graphicFrameChg>
      </pc:sldChg>
      <pc:sldChg chg="del">
        <pc:chgData name="Thomas Stensitzki" userId="75cafe6b-2f2a-469b-85c4-eec3b9c972ba" providerId="ADAL" clId="{B1462F1E-0CE4-4310-BDB3-DCDEDFDFEA3A}" dt="2023-08-14T14:44:46.963" v="73" actId="47"/>
        <pc:sldMkLst>
          <pc:docMk/>
          <pc:sldMk cId="1546711668" sldId="751"/>
        </pc:sldMkLst>
      </pc:sldChg>
      <pc:sldChg chg="del">
        <pc:chgData name="Thomas Stensitzki" userId="75cafe6b-2f2a-469b-85c4-eec3b9c972ba" providerId="ADAL" clId="{B1462F1E-0CE4-4310-BDB3-DCDEDFDFEA3A}" dt="2023-08-14T14:44:46.963" v="73" actId="47"/>
        <pc:sldMkLst>
          <pc:docMk/>
          <pc:sldMk cId="2598459548" sldId="752"/>
        </pc:sldMkLst>
      </pc:sldChg>
      <pc:sldChg chg="modSp add mod ord">
        <pc:chgData name="Thomas Stensitzki" userId="75cafe6b-2f2a-469b-85c4-eec3b9c972ba" providerId="ADAL" clId="{B1462F1E-0CE4-4310-BDB3-DCDEDFDFEA3A}" dt="2023-10-22T10:16:27.580" v="2507" actId="20577"/>
        <pc:sldMkLst>
          <pc:docMk/>
          <pc:sldMk cId="2617257881" sldId="752"/>
        </pc:sldMkLst>
        <pc:spChg chg="mod">
          <ac:chgData name="Thomas Stensitzki" userId="75cafe6b-2f2a-469b-85c4-eec3b9c972ba" providerId="ADAL" clId="{B1462F1E-0CE4-4310-BDB3-DCDEDFDFEA3A}" dt="2023-10-22T10:16:27.580" v="2507" actId="20577"/>
          <ac:spMkLst>
            <pc:docMk/>
            <pc:sldMk cId="2617257881" sldId="752"/>
            <ac:spMk id="5" creationId="{C24DACB5-1BEC-4C86-9652-BAFD8DE56FEF}"/>
          </ac:spMkLst>
        </pc:spChg>
      </pc:sldChg>
      <pc:sldChg chg="del">
        <pc:chgData name="Thomas Stensitzki" userId="75cafe6b-2f2a-469b-85c4-eec3b9c972ba" providerId="ADAL" clId="{B1462F1E-0CE4-4310-BDB3-DCDEDFDFEA3A}" dt="2023-08-14T14:44:39.723" v="72" actId="47"/>
        <pc:sldMkLst>
          <pc:docMk/>
          <pc:sldMk cId="3863686543" sldId="753"/>
        </pc:sldMkLst>
      </pc:sldChg>
      <pc:sldChg chg="modSp new mod">
        <pc:chgData name="Thomas Stensitzki" userId="75cafe6b-2f2a-469b-85c4-eec3b9c972ba" providerId="ADAL" clId="{B1462F1E-0CE4-4310-BDB3-DCDEDFDFEA3A}" dt="2023-10-22T09:48:47.842" v="1581"/>
        <pc:sldMkLst>
          <pc:docMk/>
          <pc:sldMk cId="4180603478" sldId="753"/>
        </pc:sldMkLst>
        <pc:spChg chg="mod">
          <ac:chgData name="Thomas Stensitzki" userId="75cafe6b-2f2a-469b-85c4-eec3b9c972ba" providerId="ADAL" clId="{B1462F1E-0CE4-4310-BDB3-DCDEDFDFEA3A}" dt="2023-10-22T09:45:50.865" v="1340"/>
          <ac:spMkLst>
            <pc:docMk/>
            <pc:sldMk cId="4180603478" sldId="753"/>
            <ac:spMk id="2" creationId="{A1901751-DFFE-9E9E-F49E-74C83804C907}"/>
          </ac:spMkLst>
        </pc:spChg>
        <pc:spChg chg="mod">
          <ac:chgData name="Thomas Stensitzki" userId="75cafe6b-2f2a-469b-85c4-eec3b9c972ba" providerId="ADAL" clId="{B1462F1E-0CE4-4310-BDB3-DCDEDFDFEA3A}" dt="2023-10-22T09:48:47.842" v="1581"/>
          <ac:spMkLst>
            <pc:docMk/>
            <pc:sldMk cId="4180603478" sldId="753"/>
            <ac:spMk id="3" creationId="{21F9DBD2-F7BC-E468-F48B-85D0BC462445}"/>
          </ac:spMkLst>
        </pc:spChg>
      </pc:sldChg>
      <pc:sldChg chg="addSp delSp modSp new mod">
        <pc:chgData name="Thomas Stensitzki" userId="75cafe6b-2f2a-469b-85c4-eec3b9c972ba" providerId="ADAL" clId="{B1462F1E-0CE4-4310-BDB3-DCDEDFDFEA3A}" dt="2023-10-22T09:51:24.356" v="1629" actId="1076"/>
        <pc:sldMkLst>
          <pc:docMk/>
          <pc:sldMk cId="245637279" sldId="754"/>
        </pc:sldMkLst>
        <pc:spChg chg="mod">
          <ac:chgData name="Thomas Stensitzki" userId="75cafe6b-2f2a-469b-85c4-eec3b9c972ba" providerId="ADAL" clId="{B1462F1E-0CE4-4310-BDB3-DCDEDFDFEA3A}" dt="2023-10-22T09:49:51.393" v="1585"/>
          <ac:spMkLst>
            <pc:docMk/>
            <pc:sldMk cId="245637279" sldId="754"/>
            <ac:spMk id="2" creationId="{22C56AED-4985-C750-1F3A-78C1C47C7FEC}"/>
          </ac:spMkLst>
        </pc:spChg>
        <pc:spChg chg="del">
          <ac:chgData name="Thomas Stensitzki" userId="75cafe6b-2f2a-469b-85c4-eec3b9c972ba" providerId="ADAL" clId="{B1462F1E-0CE4-4310-BDB3-DCDEDFDFEA3A}" dt="2023-10-22T09:51:07.517" v="1624" actId="478"/>
          <ac:spMkLst>
            <pc:docMk/>
            <pc:sldMk cId="245637279" sldId="754"/>
            <ac:spMk id="3" creationId="{5E9645CC-F51E-762D-58B1-D34B3EF4F333}"/>
          </ac:spMkLst>
        </pc:spChg>
        <pc:spChg chg="add mod">
          <ac:chgData name="Thomas Stensitzki" userId="75cafe6b-2f2a-469b-85c4-eec3b9c972ba" providerId="ADAL" clId="{B1462F1E-0CE4-4310-BDB3-DCDEDFDFEA3A}" dt="2023-10-22T09:51:04.618" v="1623" actId="1076"/>
          <ac:spMkLst>
            <pc:docMk/>
            <pc:sldMk cId="245637279" sldId="754"/>
            <ac:spMk id="5" creationId="{6E9B5E34-0BF9-D9FB-709D-A8A381461F0F}"/>
          </ac:spMkLst>
        </pc:spChg>
        <pc:picChg chg="add mod">
          <ac:chgData name="Thomas Stensitzki" userId="75cafe6b-2f2a-469b-85c4-eec3b9c972ba" providerId="ADAL" clId="{B1462F1E-0CE4-4310-BDB3-DCDEDFDFEA3A}" dt="2023-10-22T09:51:24.356" v="1629" actId="1076"/>
          <ac:picMkLst>
            <pc:docMk/>
            <pc:sldMk cId="245637279" sldId="754"/>
            <ac:picMk id="6146" creationId="{E6D9661D-DA30-99FA-BAE2-953D554CA6DF}"/>
          </ac:picMkLst>
        </pc:picChg>
      </pc:sldChg>
      <pc:sldChg chg="del">
        <pc:chgData name="Thomas Stensitzki" userId="75cafe6b-2f2a-469b-85c4-eec3b9c972ba" providerId="ADAL" clId="{B1462F1E-0CE4-4310-BDB3-DCDEDFDFEA3A}" dt="2023-08-14T14:44:39.723" v="72" actId="47"/>
        <pc:sldMkLst>
          <pc:docMk/>
          <pc:sldMk cId="4175667725" sldId="754"/>
        </pc:sldMkLst>
      </pc:sldChg>
      <pc:sldChg chg="del">
        <pc:chgData name="Thomas Stensitzki" userId="75cafe6b-2f2a-469b-85c4-eec3b9c972ba" providerId="ADAL" clId="{B1462F1E-0CE4-4310-BDB3-DCDEDFDFEA3A}" dt="2023-08-14T14:44:39.723" v="72" actId="47"/>
        <pc:sldMkLst>
          <pc:docMk/>
          <pc:sldMk cId="2580803171" sldId="755"/>
        </pc:sldMkLst>
      </pc:sldChg>
      <pc:sldChg chg="modSp add">
        <pc:chgData name="Thomas Stensitzki" userId="75cafe6b-2f2a-469b-85c4-eec3b9c972ba" providerId="ADAL" clId="{B1462F1E-0CE4-4310-BDB3-DCDEDFDFEA3A}" dt="2023-10-22T09:56:10.317" v="1635" actId="14826"/>
        <pc:sldMkLst>
          <pc:docMk/>
          <pc:sldMk cId="3001994711" sldId="755"/>
        </pc:sldMkLst>
        <pc:picChg chg="mod">
          <ac:chgData name="Thomas Stensitzki" userId="75cafe6b-2f2a-469b-85c4-eec3b9c972ba" providerId="ADAL" clId="{B1462F1E-0CE4-4310-BDB3-DCDEDFDFEA3A}" dt="2023-10-22T09:56:10.317" v="1635" actId="14826"/>
          <ac:picMkLst>
            <pc:docMk/>
            <pc:sldMk cId="3001994711" sldId="755"/>
            <ac:picMk id="6146" creationId="{E6D9661D-DA30-99FA-BAE2-953D554CA6DF}"/>
          </ac:picMkLst>
        </pc:picChg>
      </pc:sldChg>
      <pc:sldChg chg="addSp delSp modSp new mod">
        <pc:chgData name="Thomas Stensitzki" userId="75cafe6b-2f2a-469b-85c4-eec3b9c972ba" providerId="ADAL" clId="{B1462F1E-0CE4-4310-BDB3-DCDEDFDFEA3A}" dt="2023-10-22T09:58:49.182" v="1661" actId="1440"/>
        <pc:sldMkLst>
          <pc:docMk/>
          <pc:sldMk cId="495742784" sldId="756"/>
        </pc:sldMkLst>
        <pc:spChg chg="mod">
          <ac:chgData name="Thomas Stensitzki" userId="75cafe6b-2f2a-469b-85c4-eec3b9c972ba" providerId="ADAL" clId="{B1462F1E-0CE4-4310-BDB3-DCDEDFDFEA3A}" dt="2023-10-22T09:57:18.570" v="1641" actId="6549"/>
          <ac:spMkLst>
            <pc:docMk/>
            <pc:sldMk cId="495742784" sldId="756"/>
            <ac:spMk id="2" creationId="{CA7F7A1D-5D7D-FF1F-4DD4-0C8C2713468E}"/>
          </ac:spMkLst>
        </pc:spChg>
        <pc:spChg chg="del">
          <ac:chgData name="Thomas Stensitzki" userId="75cafe6b-2f2a-469b-85c4-eec3b9c972ba" providerId="ADAL" clId="{B1462F1E-0CE4-4310-BDB3-DCDEDFDFEA3A}" dt="2023-10-22T09:57:27.384" v="1642" actId="478"/>
          <ac:spMkLst>
            <pc:docMk/>
            <pc:sldMk cId="495742784" sldId="756"/>
            <ac:spMk id="3" creationId="{B3DFDAF6-84DF-B6BE-A7DC-BDD125A121B1}"/>
          </ac:spMkLst>
        </pc:spChg>
        <pc:picChg chg="add mod">
          <ac:chgData name="Thomas Stensitzki" userId="75cafe6b-2f2a-469b-85c4-eec3b9c972ba" providerId="ADAL" clId="{B1462F1E-0CE4-4310-BDB3-DCDEDFDFEA3A}" dt="2023-10-22T09:58:49.182" v="1661" actId="1440"/>
          <ac:picMkLst>
            <pc:docMk/>
            <pc:sldMk cId="495742784" sldId="756"/>
            <ac:picMk id="4" creationId="{77012DCD-B808-FDA3-7BE4-98F129AE739F}"/>
          </ac:picMkLst>
        </pc:picChg>
        <pc:picChg chg="add mod">
          <ac:chgData name="Thomas Stensitzki" userId="75cafe6b-2f2a-469b-85c4-eec3b9c972ba" providerId="ADAL" clId="{B1462F1E-0CE4-4310-BDB3-DCDEDFDFEA3A}" dt="2023-10-22T09:58:49.182" v="1661" actId="1440"/>
          <ac:picMkLst>
            <pc:docMk/>
            <pc:sldMk cId="495742784" sldId="756"/>
            <ac:picMk id="5" creationId="{3742C661-9697-95D6-495A-2C41FCEF4E4F}"/>
          </ac:picMkLst>
        </pc:picChg>
        <pc:picChg chg="add mod">
          <ac:chgData name="Thomas Stensitzki" userId="75cafe6b-2f2a-469b-85c4-eec3b9c972ba" providerId="ADAL" clId="{B1462F1E-0CE4-4310-BDB3-DCDEDFDFEA3A}" dt="2023-10-22T09:58:49.182" v="1661" actId="1440"/>
          <ac:picMkLst>
            <pc:docMk/>
            <pc:sldMk cId="495742784" sldId="756"/>
            <ac:picMk id="6" creationId="{9EFBF646-632D-8B5B-DC46-4216D6681294}"/>
          </ac:picMkLst>
        </pc:picChg>
        <pc:picChg chg="add mod">
          <ac:chgData name="Thomas Stensitzki" userId="75cafe6b-2f2a-469b-85c4-eec3b9c972ba" providerId="ADAL" clId="{B1462F1E-0CE4-4310-BDB3-DCDEDFDFEA3A}" dt="2023-10-22T09:58:49.182" v="1661" actId="1440"/>
          <ac:picMkLst>
            <pc:docMk/>
            <pc:sldMk cId="495742784" sldId="756"/>
            <ac:picMk id="7" creationId="{BB90FE5B-97AE-1067-EEB5-145AAB8510A1}"/>
          </ac:picMkLst>
        </pc:picChg>
        <pc:picChg chg="add del">
          <ac:chgData name="Thomas Stensitzki" userId="75cafe6b-2f2a-469b-85c4-eec3b9c972ba" providerId="ADAL" clId="{B1462F1E-0CE4-4310-BDB3-DCDEDFDFEA3A}" dt="2023-10-22T09:57:47.852" v="1650"/>
          <ac:picMkLst>
            <pc:docMk/>
            <pc:sldMk cId="495742784" sldId="756"/>
            <ac:picMk id="7170" creationId="{5DB98872-1E46-BBF2-EDA9-4F42900D3129}"/>
          </ac:picMkLst>
        </pc:picChg>
      </pc:sldChg>
      <pc:sldChg chg="del">
        <pc:chgData name="Thomas Stensitzki" userId="75cafe6b-2f2a-469b-85c4-eec3b9c972ba" providerId="ADAL" clId="{B1462F1E-0CE4-4310-BDB3-DCDEDFDFEA3A}" dt="2023-08-14T14:44:39.723" v="72" actId="47"/>
        <pc:sldMkLst>
          <pc:docMk/>
          <pc:sldMk cId="3441249704" sldId="756"/>
        </pc:sldMkLst>
      </pc:sldChg>
      <pc:sldChg chg="modSp new mod">
        <pc:chgData name="Thomas Stensitzki" userId="75cafe6b-2f2a-469b-85c4-eec3b9c972ba" providerId="ADAL" clId="{B1462F1E-0CE4-4310-BDB3-DCDEDFDFEA3A}" dt="2023-10-22T10:03:02.588" v="2010" actId="20577"/>
        <pc:sldMkLst>
          <pc:docMk/>
          <pc:sldMk cId="132134635" sldId="757"/>
        </pc:sldMkLst>
        <pc:spChg chg="mod">
          <ac:chgData name="Thomas Stensitzki" userId="75cafe6b-2f2a-469b-85c4-eec3b9c972ba" providerId="ADAL" clId="{B1462F1E-0CE4-4310-BDB3-DCDEDFDFEA3A}" dt="2023-10-22T09:59:35.171" v="1665"/>
          <ac:spMkLst>
            <pc:docMk/>
            <pc:sldMk cId="132134635" sldId="757"/>
            <ac:spMk id="2" creationId="{9BBC6F39-39BE-5CBE-3253-AD50C56296D9}"/>
          </ac:spMkLst>
        </pc:spChg>
        <pc:spChg chg="mod">
          <ac:chgData name="Thomas Stensitzki" userId="75cafe6b-2f2a-469b-85c4-eec3b9c972ba" providerId="ADAL" clId="{B1462F1E-0CE4-4310-BDB3-DCDEDFDFEA3A}" dt="2023-10-22T10:03:02.588" v="2010" actId="20577"/>
          <ac:spMkLst>
            <pc:docMk/>
            <pc:sldMk cId="132134635" sldId="757"/>
            <ac:spMk id="3" creationId="{B503C17A-AFE5-DBDC-0647-30AF9B7C6DB7}"/>
          </ac:spMkLst>
        </pc:spChg>
      </pc:sldChg>
      <pc:sldChg chg="del">
        <pc:chgData name="Thomas Stensitzki" userId="75cafe6b-2f2a-469b-85c4-eec3b9c972ba" providerId="ADAL" clId="{B1462F1E-0CE4-4310-BDB3-DCDEDFDFEA3A}" dt="2023-08-14T14:44:39.723" v="72" actId="47"/>
        <pc:sldMkLst>
          <pc:docMk/>
          <pc:sldMk cId="2120421256" sldId="757"/>
        </pc:sldMkLst>
      </pc:sldChg>
      <pc:sldChg chg="addSp delSp modSp new mod">
        <pc:chgData name="Thomas Stensitzki" userId="75cafe6b-2f2a-469b-85c4-eec3b9c972ba" providerId="ADAL" clId="{B1462F1E-0CE4-4310-BDB3-DCDEDFDFEA3A}" dt="2023-10-22T10:04:15.344" v="2018" actId="1076"/>
        <pc:sldMkLst>
          <pc:docMk/>
          <pc:sldMk cId="2284546408" sldId="758"/>
        </pc:sldMkLst>
        <pc:spChg chg="mod">
          <ac:chgData name="Thomas Stensitzki" userId="75cafe6b-2f2a-469b-85c4-eec3b9c972ba" providerId="ADAL" clId="{B1462F1E-0CE4-4310-BDB3-DCDEDFDFEA3A}" dt="2023-10-22T10:03:55.461" v="2014"/>
          <ac:spMkLst>
            <pc:docMk/>
            <pc:sldMk cId="2284546408" sldId="758"/>
            <ac:spMk id="2" creationId="{6E62727E-4CB7-6B7A-043F-0F2A1E056316}"/>
          </ac:spMkLst>
        </pc:spChg>
        <pc:spChg chg="del">
          <ac:chgData name="Thomas Stensitzki" userId="75cafe6b-2f2a-469b-85c4-eec3b9c972ba" providerId="ADAL" clId="{B1462F1E-0CE4-4310-BDB3-DCDEDFDFEA3A}" dt="2023-10-22T10:04:08.961" v="2015" actId="478"/>
          <ac:spMkLst>
            <pc:docMk/>
            <pc:sldMk cId="2284546408" sldId="758"/>
            <ac:spMk id="3" creationId="{2027E923-2603-48D5-4378-B356477A3D56}"/>
          </ac:spMkLst>
        </pc:spChg>
        <pc:picChg chg="add mod">
          <ac:chgData name="Thomas Stensitzki" userId="75cafe6b-2f2a-469b-85c4-eec3b9c972ba" providerId="ADAL" clId="{B1462F1E-0CE4-4310-BDB3-DCDEDFDFEA3A}" dt="2023-10-22T10:04:15.344" v="2018" actId="1076"/>
          <ac:picMkLst>
            <pc:docMk/>
            <pc:sldMk cId="2284546408" sldId="758"/>
            <ac:picMk id="8194" creationId="{B39A795C-4B0E-9043-2B1C-F6C04AA3EC9A}"/>
          </ac:picMkLst>
        </pc:picChg>
      </pc:sldChg>
      <pc:sldChg chg="del">
        <pc:chgData name="Thomas Stensitzki" userId="75cafe6b-2f2a-469b-85c4-eec3b9c972ba" providerId="ADAL" clId="{B1462F1E-0CE4-4310-BDB3-DCDEDFDFEA3A}" dt="2023-08-14T14:44:39.723" v="72" actId="47"/>
        <pc:sldMkLst>
          <pc:docMk/>
          <pc:sldMk cId="3538299181" sldId="758"/>
        </pc:sldMkLst>
      </pc:sldChg>
      <pc:sldChg chg="del">
        <pc:chgData name="Thomas Stensitzki" userId="75cafe6b-2f2a-469b-85c4-eec3b9c972ba" providerId="ADAL" clId="{B1462F1E-0CE4-4310-BDB3-DCDEDFDFEA3A}" dt="2023-08-14T14:44:46.963" v="73" actId="47"/>
        <pc:sldMkLst>
          <pc:docMk/>
          <pc:sldMk cId="2253260559" sldId="759"/>
        </pc:sldMkLst>
      </pc:sldChg>
      <pc:sldChg chg="addSp delSp modSp new mod">
        <pc:chgData name="Thomas Stensitzki" userId="75cafe6b-2f2a-469b-85c4-eec3b9c972ba" providerId="ADAL" clId="{B1462F1E-0CE4-4310-BDB3-DCDEDFDFEA3A}" dt="2023-10-22T10:08:21.835" v="2321" actId="20577"/>
        <pc:sldMkLst>
          <pc:docMk/>
          <pc:sldMk cId="3449039697" sldId="759"/>
        </pc:sldMkLst>
        <pc:spChg chg="mod">
          <ac:chgData name="Thomas Stensitzki" userId="75cafe6b-2f2a-469b-85c4-eec3b9c972ba" providerId="ADAL" clId="{B1462F1E-0CE4-4310-BDB3-DCDEDFDFEA3A}" dt="2023-10-22T10:04:48.678" v="2025"/>
          <ac:spMkLst>
            <pc:docMk/>
            <pc:sldMk cId="3449039697" sldId="759"/>
            <ac:spMk id="2" creationId="{700C0F88-9477-8548-A548-573AA223F331}"/>
          </ac:spMkLst>
        </pc:spChg>
        <pc:spChg chg="del">
          <ac:chgData name="Thomas Stensitzki" userId="75cafe6b-2f2a-469b-85c4-eec3b9c972ba" providerId="ADAL" clId="{B1462F1E-0CE4-4310-BDB3-DCDEDFDFEA3A}" dt="2023-10-22T10:04:53.575" v="2026" actId="478"/>
          <ac:spMkLst>
            <pc:docMk/>
            <pc:sldMk cId="3449039697" sldId="759"/>
            <ac:spMk id="3" creationId="{A06C6B69-F0DE-755B-6165-E2A96019BA79}"/>
          </ac:spMkLst>
        </pc:spChg>
        <pc:spChg chg="add mod">
          <ac:chgData name="Thomas Stensitzki" userId="75cafe6b-2f2a-469b-85c4-eec3b9c972ba" providerId="ADAL" clId="{B1462F1E-0CE4-4310-BDB3-DCDEDFDFEA3A}" dt="2023-10-22T10:08:21.835" v="2321" actId="20577"/>
          <ac:spMkLst>
            <pc:docMk/>
            <pc:sldMk cId="3449039697" sldId="759"/>
            <ac:spMk id="4" creationId="{3DDDDCCA-E741-D1A6-75B8-F0C6B176681D}"/>
          </ac:spMkLst>
        </pc:spChg>
        <pc:picChg chg="add del mod">
          <ac:chgData name="Thomas Stensitzki" userId="75cafe6b-2f2a-469b-85c4-eec3b9c972ba" providerId="ADAL" clId="{B1462F1E-0CE4-4310-BDB3-DCDEDFDFEA3A}" dt="2023-10-22T10:05:28.597" v="2033" actId="478"/>
          <ac:picMkLst>
            <pc:docMk/>
            <pc:sldMk cId="3449039697" sldId="759"/>
            <ac:picMk id="9218" creationId="{92D8097A-EAB5-3FD4-9FC1-6DC08DCD5D31}"/>
          </ac:picMkLst>
        </pc:picChg>
      </pc:sldChg>
      <pc:sldChg chg="add">
        <pc:chgData name="Thomas Stensitzki" userId="75cafe6b-2f2a-469b-85c4-eec3b9c972ba" providerId="ADAL" clId="{B1462F1E-0CE4-4310-BDB3-DCDEDFDFEA3A}" dt="2023-10-22T10:05:25.489" v="2032" actId="2890"/>
        <pc:sldMkLst>
          <pc:docMk/>
          <pc:sldMk cId="1212930002" sldId="760"/>
        </pc:sldMkLst>
      </pc:sldChg>
      <pc:sldChg chg="del">
        <pc:chgData name="Thomas Stensitzki" userId="75cafe6b-2f2a-469b-85c4-eec3b9c972ba" providerId="ADAL" clId="{B1462F1E-0CE4-4310-BDB3-DCDEDFDFEA3A}" dt="2023-08-14T14:44:46.963" v="73" actId="47"/>
        <pc:sldMkLst>
          <pc:docMk/>
          <pc:sldMk cId="3932105883" sldId="760"/>
        </pc:sldMkLst>
      </pc:sldChg>
      <pc:sldChg chg="modSp new mod">
        <pc:chgData name="Thomas Stensitzki" userId="75cafe6b-2f2a-469b-85c4-eec3b9c972ba" providerId="ADAL" clId="{B1462F1E-0CE4-4310-BDB3-DCDEDFDFEA3A}" dt="2023-10-22T10:09:51.790" v="2387" actId="15"/>
        <pc:sldMkLst>
          <pc:docMk/>
          <pc:sldMk cId="2936606080" sldId="761"/>
        </pc:sldMkLst>
        <pc:spChg chg="mod">
          <ac:chgData name="Thomas Stensitzki" userId="75cafe6b-2f2a-469b-85c4-eec3b9c972ba" providerId="ADAL" clId="{B1462F1E-0CE4-4310-BDB3-DCDEDFDFEA3A}" dt="2023-10-22T10:09:09.959" v="2336"/>
          <ac:spMkLst>
            <pc:docMk/>
            <pc:sldMk cId="2936606080" sldId="761"/>
            <ac:spMk id="2" creationId="{052B0509-F7A0-D935-5601-79EB8AA808FA}"/>
          </ac:spMkLst>
        </pc:spChg>
        <pc:spChg chg="mod">
          <ac:chgData name="Thomas Stensitzki" userId="75cafe6b-2f2a-469b-85c4-eec3b9c972ba" providerId="ADAL" clId="{B1462F1E-0CE4-4310-BDB3-DCDEDFDFEA3A}" dt="2023-10-22T10:09:51.790" v="2387" actId="15"/>
          <ac:spMkLst>
            <pc:docMk/>
            <pc:sldMk cId="2936606080" sldId="761"/>
            <ac:spMk id="3" creationId="{CB929649-1F92-2E41-5BFB-8D885A041FFA}"/>
          </ac:spMkLst>
        </pc:spChg>
      </pc:sldChg>
      <pc:sldChg chg="del">
        <pc:chgData name="Thomas Stensitzki" userId="75cafe6b-2f2a-469b-85c4-eec3b9c972ba" providerId="ADAL" clId="{B1462F1E-0CE4-4310-BDB3-DCDEDFDFEA3A}" dt="2023-08-14T14:44:46.963" v="73" actId="47"/>
        <pc:sldMkLst>
          <pc:docMk/>
          <pc:sldMk cId="3362652068" sldId="761"/>
        </pc:sldMkLst>
      </pc:sldChg>
      <pc:sldChg chg="modSp add mod ord">
        <pc:chgData name="Thomas Stensitzki" userId="75cafe6b-2f2a-469b-85c4-eec3b9c972ba" providerId="ADAL" clId="{B1462F1E-0CE4-4310-BDB3-DCDEDFDFEA3A}" dt="2023-10-22T10:10:19.989" v="2392"/>
        <pc:sldMkLst>
          <pc:docMk/>
          <pc:sldMk cId="817169500" sldId="762"/>
        </pc:sldMkLst>
        <pc:spChg chg="mod">
          <ac:chgData name="Thomas Stensitzki" userId="75cafe6b-2f2a-469b-85c4-eec3b9c972ba" providerId="ADAL" clId="{B1462F1E-0CE4-4310-BDB3-DCDEDFDFEA3A}" dt="2023-10-22T10:10:19.989" v="2392"/>
          <ac:spMkLst>
            <pc:docMk/>
            <pc:sldMk cId="817169500" sldId="762"/>
            <ac:spMk id="2" creationId="{6E62727E-4CB7-6B7A-043F-0F2A1E056316}"/>
          </ac:spMkLst>
        </pc:spChg>
        <pc:picChg chg="mod">
          <ac:chgData name="Thomas Stensitzki" userId="75cafe6b-2f2a-469b-85c4-eec3b9c972ba" providerId="ADAL" clId="{B1462F1E-0CE4-4310-BDB3-DCDEDFDFEA3A}" dt="2023-10-22T10:10:12.937" v="2391" actId="14826"/>
          <ac:picMkLst>
            <pc:docMk/>
            <pc:sldMk cId="817169500" sldId="762"/>
            <ac:picMk id="8194" creationId="{B39A795C-4B0E-9043-2B1C-F6C04AA3EC9A}"/>
          </ac:picMkLst>
        </pc:picChg>
      </pc:sldChg>
      <pc:sldChg chg="addSp modSp del mod">
        <pc:chgData name="Thomas Stensitzki" userId="75cafe6b-2f2a-469b-85c4-eec3b9c972ba" providerId="ADAL" clId="{B1462F1E-0CE4-4310-BDB3-DCDEDFDFEA3A}" dt="2023-10-21T14:40:38.874" v="398" actId="47"/>
        <pc:sldMkLst>
          <pc:docMk/>
          <pc:sldMk cId="1155620625" sldId="762"/>
        </pc:sldMkLst>
        <pc:spChg chg="mod">
          <ac:chgData name="Thomas Stensitzki" userId="75cafe6b-2f2a-469b-85c4-eec3b9c972ba" providerId="ADAL" clId="{B1462F1E-0CE4-4310-BDB3-DCDEDFDFEA3A}" dt="2023-08-14T14:47:11.094" v="113" actId="20577"/>
          <ac:spMkLst>
            <pc:docMk/>
            <pc:sldMk cId="1155620625" sldId="762"/>
            <ac:spMk id="4" creationId="{22178338-04CE-D0ED-FF1C-006DA86C3465}"/>
          </ac:spMkLst>
        </pc:spChg>
        <pc:spChg chg="mod">
          <ac:chgData name="Thomas Stensitzki" userId="75cafe6b-2f2a-469b-85c4-eec3b9c972ba" providerId="ADAL" clId="{B1462F1E-0CE4-4310-BDB3-DCDEDFDFEA3A}" dt="2023-08-14T15:00:27.359" v="251" actId="113"/>
          <ac:spMkLst>
            <pc:docMk/>
            <pc:sldMk cId="1155620625" sldId="762"/>
            <ac:spMk id="5" creationId="{E051A96C-66E0-5823-6CCB-1AD57472AD68}"/>
          </ac:spMkLst>
        </pc:spChg>
        <pc:picChg chg="add mod">
          <ac:chgData name="Thomas Stensitzki" userId="75cafe6b-2f2a-469b-85c4-eec3b9c972ba" providerId="ADAL" clId="{B1462F1E-0CE4-4310-BDB3-DCDEDFDFEA3A}" dt="2023-08-14T15:00:43.548" v="254" actId="1076"/>
          <ac:picMkLst>
            <pc:docMk/>
            <pc:sldMk cId="1155620625" sldId="762"/>
            <ac:picMk id="3" creationId="{A6AD01EF-A5F6-0EBF-181A-9B7E6860F0C5}"/>
          </ac:picMkLst>
        </pc:picChg>
        <pc:picChg chg="add mod">
          <ac:chgData name="Thomas Stensitzki" userId="75cafe6b-2f2a-469b-85c4-eec3b9c972ba" providerId="ADAL" clId="{B1462F1E-0CE4-4310-BDB3-DCDEDFDFEA3A}" dt="2023-08-14T15:02:42.731" v="262" actId="1076"/>
          <ac:picMkLst>
            <pc:docMk/>
            <pc:sldMk cId="1155620625" sldId="762"/>
            <ac:picMk id="7" creationId="{6781202D-2001-6B27-A943-AAF7B83F0D76}"/>
          </ac:picMkLst>
        </pc:picChg>
      </pc:sldChg>
      <pc:sldChg chg="addSp delSp modSp new del mod setBg modClrScheme chgLayout">
        <pc:chgData name="Thomas Stensitzki" userId="75cafe6b-2f2a-469b-85c4-eec3b9c972ba" providerId="ADAL" clId="{B1462F1E-0CE4-4310-BDB3-DCDEDFDFEA3A}" dt="2023-10-21T14:40:42.873" v="400" actId="47"/>
        <pc:sldMkLst>
          <pc:docMk/>
          <pc:sldMk cId="1641846161" sldId="763"/>
        </pc:sldMkLst>
        <pc:spChg chg="del mod ord">
          <ac:chgData name="Thomas Stensitzki" userId="75cafe6b-2f2a-469b-85c4-eec3b9c972ba" providerId="ADAL" clId="{B1462F1E-0CE4-4310-BDB3-DCDEDFDFEA3A}" dt="2023-08-14T14:45:41.797" v="77" actId="700"/>
          <ac:spMkLst>
            <pc:docMk/>
            <pc:sldMk cId="1641846161" sldId="763"/>
            <ac:spMk id="2" creationId="{4C5020C9-B624-7FFB-13A6-05243D44CF10}"/>
          </ac:spMkLst>
        </pc:spChg>
        <pc:spChg chg="del mod ord">
          <ac:chgData name="Thomas Stensitzki" userId="75cafe6b-2f2a-469b-85c4-eec3b9c972ba" providerId="ADAL" clId="{B1462F1E-0CE4-4310-BDB3-DCDEDFDFEA3A}" dt="2023-08-14T14:45:41.797" v="77" actId="700"/>
          <ac:spMkLst>
            <pc:docMk/>
            <pc:sldMk cId="1641846161" sldId="763"/>
            <ac:spMk id="3" creationId="{61D44FEF-C543-2BCC-7AFF-0E3030F50737}"/>
          </ac:spMkLst>
        </pc:spChg>
        <pc:spChg chg="add mod ord">
          <ac:chgData name="Thomas Stensitzki" userId="75cafe6b-2f2a-469b-85c4-eec3b9c972ba" providerId="ADAL" clId="{B1462F1E-0CE4-4310-BDB3-DCDEDFDFEA3A}" dt="2023-08-14T14:46:39.973" v="91" actId="26606"/>
          <ac:spMkLst>
            <pc:docMk/>
            <pc:sldMk cId="1641846161" sldId="763"/>
            <ac:spMk id="4" creationId="{A3DA713F-584F-BC94-0FD7-997781C0DDF7}"/>
          </ac:spMkLst>
        </pc:spChg>
        <pc:spChg chg="add mod ord">
          <ac:chgData name="Thomas Stensitzki" userId="75cafe6b-2f2a-469b-85c4-eec3b9c972ba" providerId="ADAL" clId="{B1462F1E-0CE4-4310-BDB3-DCDEDFDFEA3A}" dt="2023-08-14T14:46:39.973" v="91" actId="26606"/>
          <ac:spMkLst>
            <pc:docMk/>
            <pc:sldMk cId="1641846161" sldId="763"/>
            <ac:spMk id="5" creationId="{778FA543-80CD-FCD1-4878-3D3EB2910BDF}"/>
          </ac:spMkLst>
        </pc:spChg>
        <pc:spChg chg="add del">
          <ac:chgData name="Thomas Stensitzki" userId="75cafe6b-2f2a-469b-85c4-eec3b9c972ba" providerId="ADAL" clId="{B1462F1E-0CE4-4310-BDB3-DCDEDFDFEA3A}" dt="2023-08-14T14:46:39.973" v="91" actId="26606"/>
          <ac:spMkLst>
            <pc:docMk/>
            <pc:sldMk cId="1641846161" sldId="763"/>
            <ac:spMk id="10" creationId="{6DDA8CE9-E0A6-4FF2-823D-D08607606DC2}"/>
          </ac:spMkLst>
        </pc:spChg>
        <pc:spChg chg="add del">
          <ac:chgData name="Thomas Stensitzki" userId="75cafe6b-2f2a-469b-85c4-eec3b9c972ba" providerId="ADAL" clId="{B1462F1E-0CE4-4310-BDB3-DCDEDFDFEA3A}" dt="2023-08-14T14:46:06.462" v="83" actId="26606"/>
          <ac:spMkLst>
            <pc:docMk/>
            <pc:sldMk cId="1641846161" sldId="763"/>
            <ac:spMk id="12" creationId="{A3363022-C969-41E9-8EB2-E4C94908C1FA}"/>
          </ac:spMkLst>
        </pc:spChg>
        <pc:spChg chg="add del">
          <ac:chgData name="Thomas Stensitzki" userId="75cafe6b-2f2a-469b-85c4-eec3b9c972ba" providerId="ADAL" clId="{B1462F1E-0CE4-4310-BDB3-DCDEDFDFEA3A}" dt="2023-08-14T14:46:06.462" v="83" actId="26606"/>
          <ac:spMkLst>
            <pc:docMk/>
            <pc:sldMk cId="1641846161" sldId="763"/>
            <ac:spMk id="14" creationId="{8D1AD6B3-BE88-4CEB-BA17-790657CC4729}"/>
          </ac:spMkLst>
        </pc:spChg>
        <pc:spChg chg="add del">
          <ac:chgData name="Thomas Stensitzki" userId="75cafe6b-2f2a-469b-85c4-eec3b9c972ba" providerId="ADAL" clId="{B1462F1E-0CE4-4310-BDB3-DCDEDFDFEA3A}" dt="2023-08-14T14:46:39.973" v="91" actId="26606"/>
          <ac:spMkLst>
            <pc:docMk/>
            <pc:sldMk cId="1641846161" sldId="763"/>
            <ac:spMk id="24" creationId="{11195564-33B9-434B-9641-764F5905A56F}"/>
          </ac:spMkLst>
        </pc:spChg>
        <pc:spChg chg="add del">
          <ac:chgData name="Thomas Stensitzki" userId="75cafe6b-2f2a-469b-85c4-eec3b9c972ba" providerId="ADAL" clId="{B1462F1E-0CE4-4310-BDB3-DCDEDFDFEA3A}" dt="2023-08-14T14:46:29.439" v="86" actId="26606"/>
          <ac:spMkLst>
            <pc:docMk/>
            <pc:sldMk cId="1641846161" sldId="763"/>
            <ac:spMk id="35" creationId="{BEBFA723-5A7B-472D-ABD7-1526B8D3A38B}"/>
          </ac:spMkLst>
        </pc:spChg>
        <pc:spChg chg="add del">
          <ac:chgData name="Thomas Stensitzki" userId="75cafe6b-2f2a-469b-85c4-eec3b9c972ba" providerId="ADAL" clId="{B1462F1E-0CE4-4310-BDB3-DCDEDFDFEA3A}" dt="2023-08-14T14:46:29.439" v="86" actId="26606"/>
          <ac:spMkLst>
            <pc:docMk/>
            <pc:sldMk cId="1641846161" sldId="763"/>
            <ac:spMk id="37" creationId="{A6B27065-399A-4CF7-BF70-CF79B9848FC1}"/>
          </ac:spMkLst>
        </pc:spChg>
        <pc:spChg chg="add del">
          <ac:chgData name="Thomas Stensitzki" userId="75cafe6b-2f2a-469b-85c4-eec3b9c972ba" providerId="ADAL" clId="{B1462F1E-0CE4-4310-BDB3-DCDEDFDFEA3A}" dt="2023-08-14T14:46:31.752" v="88" actId="26606"/>
          <ac:spMkLst>
            <pc:docMk/>
            <pc:sldMk cId="1641846161" sldId="763"/>
            <ac:spMk id="44" creationId="{65219498-D544-41AC-98FE-8F956EF66A62}"/>
          </ac:spMkLst>
        </pc:spChg>
        <pc:spChg chg="add del">
          <ac:chgData name="Thomas Stensitzki" userId="75cafe6b-2f2a-469b-85c4-eec3b9c972ba" providerId="ADAL" clId="{B1462F1E-0CE4-4310-BDB3-DCDEDFDFEA3A}" dt="2023-08-14T14:46:31.752" v="88" actId="26606"/>
          <ac:spMkLst>
            <pc:docMk/>
            <pc:sldMk cId="1641846161" sldId="763"/>
            <ac:spMk id="45" creationId="{F500DBFC-17A9-4E0A-AEE2-A49F9AEEF0FD}"/>
          </ac:spMkLst>
        </pc:spChg>
        <pc:spChg chg="add del">
          <ac:chgData name="Thomas Stensitzki" userId="75cafe6b-2f2a-469b-85c4-eec3b9c972ba" providerId="ADAL" clId="{B1462F1E-0CE4-4310-BDB3-DCDEDFDFEA3A}" dt="2023-08-14T14:46:39.957" v="90" actId="26606"/>
          <ac:spMkLst>
            <pc:docMk/>
            <pc:sldMk cId="1641846161" sldId="763"/>
            <ac:spMk id="52" creationId="{6DBF50F6-DD88-4D9F-B7D3-79B989980940}"/>
          </ac:spMkLst>
        </pc:spChg>
        <pc:spChg chg="add del">
          <ac:chgData name="Thomas Stensitzki" userId="75cafe6b-2f2a-469b-85c4-eec3b9c972ba" providerId="ADAL" clId="{B1462F1E-0CE4-4310-BDB3-DCDEDFDFEA3A}" dt="2023-08-14T14:46:39.957" v="90" actId="26606"/>
          <ac:spMkLst>
            <pc:docMk/>
            <pc:sldMk cId="1641846161" sldId="763"/>
            <ac:spMk id="53" creationId="{916BBDC2-6929-469E-B7C4-A03E77BF94B0}"/>
          </ac:spMkLst>
        </pc:spChg>
        <pc:spChg chg="add">
          <ac:chgData name="Thomas Stensitzki" userId="75cafe6b-2f2a-469b-85c4-eec3b9c972ba" providerId="ADAL" clId="{B1462F1E-0CE4-4310-BDB3-DCDEDFDFEA3A}" dt="2023-08-14T14:46:39.973" v="91" actId="26606"/>
          <ac:spMkLst>
            <pc:docMk/>
            <pc:sldMk cId="1641846161" sldId="763"/>
            <ac:spMk id="63" creationId="{74751229-0244-4FBB-BED1-407467F4C951}"/>
          </ac:spMkLst>
        </pc:spChg>
        <pc:grpChg chg="add del">
          <ac:chgData name="Thomas Stensitzki" userId="75cafe6b-2f2a-469b-85c4-eec3b9c972ba" providerId="ADAL" clId="{B1462F1E-0CE4-4310-BDB3-DCDEDFDFEA3A}" dt="2023-08-14T14:46:06.462" v="83" actId="26606"/>
          <ac:grpSpMkLst>
            <pc:docMk/>
            <pc:sldMk cId="1641846161" sldId="763"/>
            <ac:grpSpMk id="16" creationId="{89D1390B-7E13-4B4F-9CB2-391063412E54}"/>
          </ac:grpSpMkLst>
        </pc:grpChg>
        <pc:grpChg chg="add del">
          <ac:chgData name="Thomas Stensitzki" userId="75cafe6b-2f2a-469b-85c4-eec3b9c972ba" providerId="ADAL" clId="{B1462F1E-0CE4-4310-BDB3-DCDEDFDFEA3A}" dt="2023-08-14T14:46:39.973" v="91" actId="26606"/>
          <ac:grpSpMkLst>
            <pc:docMk/>
            <pc:sldMk cId="1641846161" sldId="763"/>
            <ac:grpSpMk id="20" creationId="{5A1259D8-0C3A-4069-A22F-537BBBB61A9C}"/>
          </ac:grpSpMkLst>
        </pc:grpChg>
        <pc:grpChg chg="add del">
          <ac:chgData name="Thomas Stensitzki" userId="75cafe6b-2f2a-469b-85c4-eec3b9c972ba" providerId="ADAL" clId="{B1462F1E-0CE4-4310-BDB3-DCDEDFDFEA3A}" dt="2023-08-14T14:46:39.973" v="91" actId="26606"/>
          <ac:grpSpMkLst>
            <pc:docMk/>
            <pc:sldMk cId="1641846161" sldId="763"/>
            <ac:grpSpMk id="25" creationId="{1D18C537-E336-47C4-836B-C342A230F8F3}"/>
          </ac:grpSpMkLst>
        </pc:grpChg>
        <pc:grpChg chg="add del">
          <ac:chgData name="Thomas Stensitzki" userId="75cafe6b-2f2a-469b-85c4-eec3b9c972ba" providerId="ADAL" clId="{B1462F1E-0CE4-4310-BDB3-DCDEDFDFEA3A}" dt="2023-08-14T14:46:29.439" v="86" actId="26606"/>
          <ac:grpSpMkLst>
            <pc:docMk/>
            <pc:sldMk cId="1641846161" sldId="763"/>
            <ac:grpSpMk id="39" creationId="{CF22986C-DDF7-4109-9D6A-006800D6B041}"/>
          </ac:grpSpMkLst>
        </pc:grpChg>
        <pc:grpChg chg="add del">
          <ac:chgData name="Thomas Stensitzki" userId="75cafe6b-2f2a-469b-85c4-eec3b9c972ba" providerId="ADAL" clId="{B1462F1E-0CE4-4310-BDB3-DCDEDFDFEA3A}" dt="2023-08-14T14:46:31.752" v="88" actId="26606"/>
          <ac:grpSpMkLst>
            <pc:docMk/>
            <pc:sldMk cId="1641846161" sldId="763"/>
            <ac:grpSpMk id="46" creationId="{D74613BB-817C-4C4F-8A24-4936F2F064C0}"/>
          </ac:grpSpMkLst>
        </pc:grpChg>
        <pc:grpChg chg="add del">
          <ac:chgData name="Thomas Stensitzki" userId="75cafe6b-2f2a-469b-85c4-eec3b9c972ba" providerId="ADAL" clId="{B1462F1E-0CE4-4310-BDB3-DCDEDFDFEA3A}" dt="2023-08-14T14:46:39.957" v="90" actId="26606"/>
          <ac:grpSpMkLst>
            <pc:docMk/>
            <pc:sldMk cId="1641846161" sldId="763"/>
            <ac:grpSpMk id="54" creationId="{C344E6B5-C9F5-4338-9E33-003B12373104}"/>
          </ac:grpSpMkLst>
        </pc:grpChg>
        <pc:grpChg chg="add del">
          <ac:chgData name="Thomas Stensitzki" userId="75cafe6b-2f2a-469b-85c4-eec3b9c972ba" providerId="ADAL" clId="{B1462F1E-0CE4-4310-BDB3-DCDEDFDFEA3A}" dt="2023-08-14T14:46:39.957" v="90" actId="26606"/>
          <ac:grpSpMkLst>
            <pc:docMk/>
            <pc:sldMk cId="1641846161" sldId="763"/>
            <ac:grpSpMk id="57" creationId="{FDFEDBF7-8E2C-46B8-9095-AE1D77E21773}"/>
          </ac:grpSpMkLst>
        </pc:grpChg>
        <pc:picChg chg="add del">
          <ac:chgData name="Thomas Stensitzki" userId="75cafe6b-2f2a-469b-85c4-eec3b9c972ba" providerId="ADAL" clId="{B1462F1E-0CE4-4310-BDB3-DCDEDFDFEA3A}" dt="2023-08-14T14:46:06.462" v="83" actId="26606"/>
          <ac:picMkLst>
            <pc:docMk/>
            <pc:sldMk cId="1641846161" sldId="763"/>
            <ac:picMk id="9" creationId="{A742AAA3-7D3B-A102-C2C8-17E54979B712}"/>
          </ac:picMkLst>
        </pc:picChg>
        <pc:picChg chg="add del">
          <ac:chgData name="Thomas Stensitzki" userId="75cafe6b-2f2a-469b-85c4-eec3b9c972ba" providerId="ADAL" clId="{B1462F1E-0CE4-4310-BDB3-DCDEDFDFEA3A}" dt="2023-08-14T14:46:29.439" v="86" actId="26606"/>
          <ac:picMkLst>
            <pc:docMk/>
            <pc:sldMk cId="1641846161" sldId="763"/>
            <ac:picMk id="32" creationId="{F10ED702-DE75-6CC7-BAA3-A92A3263D099}"/>
          </ac:picMkLst>
        </pc:picChg>
        <pc:picChg chg="add">
          <ac:chgData name="Thomas Stensitzki" userId="75cafe6b-2f2a-469b-85c4-eec3b9c972ba" providerId="ADAL" clId="{B1462F1E-0CE4-4310-BDB3-DCDEDFDFEA3A}" dt="2023-08-14T14:46:39.973" v="91" actId="26606"/>
          <ac:picMkLst>
            <pc:docMk/>
            <pc:sldMk cId="1641846161" sldId="763"/>
            <ac:picMk id="34" creationId="{62B778F7-0F10-4640-B92C-CBE0CC1C8E78}"/>
          </ac:picMkLst>
        </pc:picChg>
        <pc:picChg chg="add del">
          <ac:chgData name="Thomas Stensitzki" userId="75cafe6b-2f2a-469b-85c4-eec3b9c972ba" providerId="ADAL" clId="{B1462F1E-0CE4-4310-BDB3-DCDEDFDFEA3A}" dt="2023-08-14T14:46:31.752" v="88" actId="26606"/>
          <ac:picMkLst>
            <pc:docMk/>
            <pc:sldMk cId="1641846161" sldId="763"/>
            <ac:picMk id="50" creationId="{11E4C180-E90A-7870-3B38-CA9B50ED00EA}"/>
          </ac:picMkLst>
        </pc:picChg>
        <pc:picChg chg="add del">
          <ac:chgData name="Thomas Stensitzki" userId="75cafe6b-2f2a-469b-85c4-eec3b9c972ba" providerId="ADAL" clId="{B1462F1E-0CE4-4310-BDB3-DCDEDFDFEA3A}" dt="2023-08-14T14:46:39.957" v="90" actId="26606"/>
          <ac:picMkLst>
            <pc:docMk/>
            <pc:sldMk cId="1641846161" sldId="763"/>
            <ac:picMk id="56" creationId="{095230B0-E3D4-1562-2D48-A73E1B1899D6}"/>
          </ac:picMkLst>
        </pc:picChg>
        <pc:picChg chg="add">
          <ac:chgData name="Thomas Stensitzki" userId="75cafe6b-2f2a-469b-85c4-eec3b9c972ba" providerId="ADAL" clId="{B1462F1E-0CE4-4310-BDB3-DCDEDFDFEA3A}" dt="2023-08-14T14:46:39.973" v="91" actId="26606"/>
          <ac:picMkLst>
            <pc:docMk/>
            <pc:sldMk cId="1641846161" sldId="763"/>
            <ac:picMk id="64" creationId="{B9E05867-B7E5-7BEA-C90C-F2B2F6D819A4}"/>
          </ac:picMkLst>
        </pc:picChg>
      </pc:sldChg>
      <pc:sldChg chg="modSp add mod ord">
        <pc:chgData name="Thomas Stensitzki" userId="75cafe6b-2f2a-469b-85c4-eec3b9c972ba" providerId="ADAL" clId="{B1462F1E-0CE4-4310-BDB3-DCDEDFDFEA3A}" dt="2023-10-31T11:27:18.103" v="3101" actId="14100"/>
        <pc:sldMkLst>
          <pc:docMk/>
          <pc:sldMk cId="1663945658" sldId="763"/>
        </pc:sldMkLst>
        <pc:spChg chg="mod">
          <ac:chgData name="Thomas Stensitzki" userId="75cafe6b-2f2a-469b-85c4-eec3b9c972ba" providerId="ADAL" clId="{B1462F1E-0CE4-4310-BDB3-DCDEDFDFEA3A}" dt="2023-10-31T11:27:18.103" v="3101" actId="14100"/>
          <ac:spMkLst>
            <pc:docMk/>
            <pc:sldMk cId="1663945658" sldId="763"/>
            <ac:spMk id="2" creationId="{909DC09D-B9A6-4493-9A72-1CA7ECB1F5CA}"/>
          </ac:spMkLst>
        </pc:spChg>
        <pc:spChg chg="mod">
          <ac:chgData name="Thomas Stensitzki" userId="75cafe6b-2f2a-469b-85c4-eec3b9c972ba" providerId="ADAL" clId="{B1462F1E-0CE4-4310-BDB3-DCDEDFDFEA3A}" dt="2023-10-26T17:23:10.594" v="3073" actId="20577"/>
          <ac:spMkLst>
            <pc:docMk/>
            <pc:sldMk cId="1663945658" sldId="763"/>
            <ac:spMk id="5" creationId="{C24DACB5-1BEC-4C86-9652-BAFD8DE56FEF}"/>
          </ac:spMkLst>
        </pc:spChg>
      </pc:sldChg>
      <pc:sldChg chg="del">
        <pc:chgData name="Thomas Stensitzki" userId="75cafe6b-2f2a-469b-85c4-eec3b9c972ba" providerId="ADAL" clId="{B1462F1E-0CE4-4310-BDB3-DCDEDFDFEA3A}" dt="2023-08-14T14:44:30.908" v="71" actId="47"/>
        <pc:sldMkLst>
          <pc:docMk/>
          <pc:sldMk cId="2162106461" sldId="763"/>
        </pc:sldMkLst>
      </pc:sldChg>
      <pc:sldChg chg="addSp delSp modSp new del mod modClrScheme chgLayout">
        <pc:chgData name="Thomas Stensitzki" userId="75cafe6b-2f2a-469b-85c4-eec3b9c972ba" providerId="ADAL" clId="{B1462F1E-0CE4-4310-BDB3-DCDEDFDFEA3A}" dt="2023-10-21T14:40:42.873" v="400" actId="47"/>
        <pc:sldMkLst>
          <pc:docMk/>
          <pc:sldMk cId="999070759" sldId="764"/>
        </pc:sldMkLst>
        <pc:spChg chg="del mod ord">
          <ac:chgData name="Thomas Stensitzki" userId="75cafe6b-2f2a-469b-85c4-eec3b9c972ba" providerId="ADAL" clId="{B1462F1E-0CE4-4310-BDB3-DCDEDFDFEA3A}" dt="2023-08-14T15:16:29.202" v="264" actId="700"/>
          <ac:spMkLst>
            <pc:docMk/>
            <pc:sldMk cId="999070759" sldId="764"/>
            <ac:spMk id="2" creationId="{DB6D1DC5-7B62-C75C-B373-DE97C93F7809}"/>
          </ac:spMkLst>
        </pc:spChg>
        <pc:spChg chg="del mod ord">
          <ac:chgData name="Thomas Stensitzki" userId="75cafe6b-2f2a-469b-85c4-eec3b9c972ba" providerId="ADAL" clId="{B1462F1E-0CE4-4310-BDB3-DCDEDFDFEA3A}" dt="2023-08-14T15:16:29.202" v="264" actId="700"/>
          <ac:spMkLst>
            <pc:docMk/>
            <pc:sldMk cId="999070759" sldId="764"/>
            <ac:spMk id="3" creationId="{1FFC3D5C-0632-C8C0-F839-B6D52508A740}"/>
          </ac:spMkLst>
        </pc:spChg>
        <pc:spChg chg="add mod ord">
          <ac:chgData name="Thomas Stensitzki" userId="75cafe6b-2f2a-469b-85c4-eec3b9c972ba" providerId="ADAL" clId="{B1462F1E-0CE4-4310-BDB3-DCDEDFDFEA3A}" dt="2023-08-14T15:16:33.461" v="279" actId="20577"/>
          <ac:spMkLst>
            <pc:docMk/>
            <pc:sldMk cId="999070759" sldId="764"/>
            <ac:spMk id="4" creationId="{D3FB94DB-D38F-CA60-DCB8-0FEF4F24D7C6}"/>
          </ac:spMkLst>
        </pc:spChg>
        <pc:spChg chg="add mod ord">
          <ac:chgData name="Thomas Stensitzki" userId="75cafe6b-2f2a-469b-85c4-eec3b9c972ba" providerId="ADAL" clId="{B1462F1E-0CE4-4310-BDB3-DCDEDFDFEA3A}" dt="2023-08-14T15:16:29.202" v="264" actId="700"/>
          <ac:spMkLst>
            <pc:docMk/>
            <pc:sldMk cId="999070759" sldId="764"/>
            <ac:spMk id="5" creationId="{8D62AC15-122C-80C9-8976-87857D2278B3}"/>
          </ac:spMkLst>
        </pc:spChg>
      </pc:sldChg>
      <pc:sldChg chg="addSp delSp modSp new mod">
        <pc:chgData name="Thomas Stensitzki" userId="75cafe6b-2f2a-469b-85c4-eec3b9c972ba" providerId="ADAL" clId="{B1462F1E-0CE4-4310-BDB3-DCDEDFDFEA3A}" dt="2023-10-22T10:14:25.265" v="2495" actId="1076"/>
        <pc:sldMkLst>
          <pc:docMk/>
          <pc:sldMk cId="1345283162" sldId="764"/>
        </pc:sldMkLst>
        <pc:spChg chg="mod">
          <ac:chgData name="Thomas Stensitzki" userId="75cafe6b-2f2a-469b-85c4-eec3b9c972ba" providerId="ADAL" clId="{B1462F1E-0CE4-4310-BDB3-DCDEDFDFEA3A}" dt="2023-10-22T10:11:32.716" v="2403"/>
          <ac:spMkLst>
            <pc:docMk/>
            <pc:sldMk cId="1345283162" sldId="764"/>
            <ac:spMk id="2" creationId="{D1197E69-E233-0B46-4F95-EE12CC1A77D2}"/>
          </ac:spMkLst>
        </pc:spChg>
        <pc:spChg chg="del">
          <ac:chgData name="Thomas Stensitzki" userId="75cafe6b-2f2a-469b-85c4-eec3b9c972ba" providerId="ADAL" clId="{B1462F1E-0CE4-4310-BDB3-DCDEDFDFEA3A}" dt="2023-10-22T10:11:52.474" v="2406" actId="478"/>
          <ac:spMkLst>
            <pc:docMk/>
            <pc:sldMk cId="1345283162" sldId="764"/>
            <ac:spMk id="3" creationId="{57140876-07BA-4E68-2494-01078A3295E3}"/>
          </ac:spMkLst>
        </pc:spChg>
        <pc:spChg chg="add mod">
          <ac:chgData name="Thomas Stensitzki" userId="75cafe6b-2f2a-469b-85c4-eec3b9c972ba" providerId="ADAL" clId="{B1462F1E-0CE4-4310-BDB3-DCDEDFDFEA3A}" dt="2023-10-22T10:14:00.474" v="2493" actId="1582"/>
          <ac:spMkLst>
            <pc:docMk/>
            <pc:sldMk cId="1345283162" sldId="764"/>
            <ac:spMk id="5" creationId="{25904851-8CF3-DBB5-D8D8-E205C39A75E8}"/>
          </ac:spMkLst>
        </pc:spChg>
        <pc:picChg chg="add mod">
          <ac:chgData name="Thomas Stensitzki" userId="75cafe6b-2f2a-469b-85c4-eec3b9c972ba" providerId="ADAL" clId="{B1462F1E-0CE4-4310-BDB3-DCDEDFDFEA3A}" dt="2023-10-22T10:12:04.463" v="2411" actId="1076"/>
          <ac:picMkLst>
            <pc:docMk/>
            <pc:sldMk cId="1345283162" sldId="764"/>
            <ac:picMk id="4" creationId="{C642694B-2B18-BF8D-2F85-E0CBD15FEA05}"/>
          </ac:picMkLst>
        </pc:picChg>
        <pc:picChg chg="add mod">
          <ac:chgData name="Thomas Stensitzki" userId="75cafe6b-2f2a-469b-85c4-eec3b9c972ba" providerId="ADAL" clId="{B1462F1E-0CE4-4310-BDB3-DCDEDFDFEA3A}" dt="2023-10-22T10:14:25.265" v="2495" actId="1076"/>
          <ac:picMkLst>
            <pc:docMk/>
            <pc:sldMk cId="1345283162" sldId="764"/>
            <ac:picMk id="7" creationId="{3969CE17-17A6-A769-AE86-BECF751A8CAB}"/>
          </ac:picMkLst>
        </pc:picChg>
      </pc:sldChg>
      <pc:sldChg chg="del">
        <pc:chgData name="Thomas Stensitzki" userId="75cafe6b-2f2a-469b-85c4-eec3b9c972ba" providerId="ADAL" clId="{B1462F1E-0CE4-4310-BDB3-DCDEDFDFEA3A}" dt="2023-08-14T14:44:30.908" v="71" actId="47"/>
        <pc:sldMkLst>
          <pc:docMk/>
          <pc:sldMk cId="3624400259" sldId="764"/>
        </pc:sldMkLst>
      </pc:sldChg>
      <pc:sldChg chg="modSp new mod">
        <pc:chgData name="Thomas Stensitzki" userId="75cafe6b-2f2a-469b-85c4-eec3b9c972ba" providerId="ADAL" clId="{B1462F1E-0CE4-4310-BDB3-DCDEDFDFEA3A}" dt="2023-10-22T10:16:47.475" v="2510"/>
        <pc:sldMkLst>
          <pc:docMk/>
          <pc:sldMk cId="1401076497" sldId="765"/>
        </pc:sldMkLst>
        <pc:spChg chg="mod">
          <ac:chgData name="Thomas Stensitzki" userId="75cafe6b-2f2a-469b-85c4-eec3b9c972ba" providerId="ADAL" clId="{B1462F1E-0CE4-4310-BDB3-DCDEDFDFEA3A}" dt="2023-10-22T10:16:37.367" v="2509"/>
          <ac:spMkLst>
            <pc:docMk/>
            <pc:sldMk cId="1401076497" sldId="765"/>
            <ac:spMk id="2" creationId="{B3DAD3CF-B18C-D2D6-C9D9-F46AA8A47C8D}"/>
          </ac:spMkLst>
        </pc:spChg>
        <pc:spChg chg="mod">
          <ac:chgData name="Thomas Stensitzki" userId="75cafe6b-2f2a-469b-85c4-eec3b9c972ba" providerId="ADAL" clId="{B1462F1E-0CE4-4310-BDB3-DCDEDFDFEA3A}" dt="2023-10-22T10:16:47.475" v="2510"/>
          <ac:spMkLst>
            <pc:docMk/>
            <pc:sldMk cId="1401076497" sldId="765"/>
            <ac:spMk id="3" creationId="{153203AF-64BE-7B9F-F92D-FECE6C5DEC7F}"/>
          </ac:spMkLst>
        </pc:spChg>
      </pc:sldChg>
      <pc:sldChg chg="modSp new del mod">
        <pc:chgData name="Thomas Stensitzki" userId="75cafe6b-2f2a-469b-85c4-eec3b9c972ba" providerId="ADAL" clId="{B1462F1E-0CE4-4310-BDB3-DCDEDFDFEA3A}" dt="2023-10-21T14:40:42.873" v="400" actId="47"/>
        <pc:sldMkLst>
          <pc:docMk/>
          <pc:sldMk cId="1981337435" sldId="765"/>
        </pc:sldMkLst>
        <pc:spChg chg="mod">
          <ac:chgData name="Thomas Stensitzki" userId="75cafe6b-2f2a-469b-85c4-eec3b9c972ba" providerId="ADAL" clId="{B1462F1E-0CE4-4310-BDB3-DCDEDFDFEA3A}" dt="2023-08-14T15:16:59.562" v="294" actId="20577"/>
          <ac:spMkLst>
            <pc:docMk/>
            <pc:sldMk cId="1981337435" sldId="765"/>
            <ac:spMk id="2" creationId="{BCB35630-2AE4-042D-4D58-79566EC68644}"/>
          </ac:spMkLst>
        </pc:spChg>
        <pc:spChg chg="mod">
          <ac:chgData name="Thomas Stensitzki" userId="75cafe6b-2f2a-469b-85c4-eec3b9c972ba" providerId="ADAL" clId="{B1462F1E-0CE4-4310-BDB3-DCDEDFDFEA3A}" dt="2023-08-14T15:18:31.030" v="297" actId="20577"/>
          <ac:spMkLst>
            <pc:docMk/>
            <pc:sldMk cId="1981337435" sldId="765"/>
            <ac:spMk id="3" creationId="{09C8A70B-535C-8D44-5E04-C50627D6EA9E}"/>
          </ac:spMkLst>
        </pc:spChg>
      </pc:sldChg>
      <pc:sldChg chg="del">
        <pc:chgData name="Thomas Stensitzki" userId="75cafe6b-2f2a-469b-85c4-eec3b9c972ba" providerId="ADAL" clId="{B1462F1E-0CE4-4310-BDB3-DCDEDFDFEA3A}" dt="2023-08-14T14:44:30.908" v="71" actId="47"/>
        <pc:sldMkLst>
          <pc:docMk/>
          <pc:sldMk cId="4177790355" sldId="765"/>
        </pc:sldMkLst>
      </pc:sldChg>
      <pc:sldChg chg="del">
        <pc:chgData name="Thomas Stensitzki" userId="75cafe6b-2f2a-469b-85c4-eec3b9c972ba" providerId="ADAL" clId="{B1462F1E-0CE4-4310-BDB3-DCDEDFDFEA3A}" dt="2023-08-14T14:44:30.908" v="71" actId="47"/>
        <pc:sldMkLst>
          <pc:docMk/>
          <pc:sldMk cId="2406853124" sldId="766"/>
        </pc:sldMkLst>
      </pc:sldChg>
      <pc:sldChg chg="add ord">
        <pc:chgData name="Thomas Stensitzki" userId="75cafe6b-2f2a-469b-85c4-eec3b9c972ba" providerId="ADAL" clId="{B1462F1E-0CE4-4310-BDB3-DCDEDFDFEA3A}" dt="2023-10-26T09:27:40.029" v="2517"/>
        <pc:sldMkLst>
          <pc:docMk/>
          <pc:sldMk cId="3637612548" sldId="766"/>
        </pc:sldMkLst>
      </pc:sldChg>
      <pc:sldChg chg="addSp delSp modSp new del mod modClrScheme chgLayout">
        <pc:chgData name="Thomas Stensitzki" userId="75cafe6b-2f2a-469b-85c4-eec3b9c972ba" providerId="ADAL" clId="{B1462F1E-0CE4-4310-BDB3-DCDEDFDFEA3A}" dt="2023-10-21T14:40:38.874" v="398" actId="47"/>
        <pc:sldMkLst>
          <pc:docMk/>
          <pc:sldMk cId="3956272902" sldId="766"/>
        </pc:sldMkLst>
        <pc:spChg chg="del mod ord">
          <ac:chgData name="Thomas Stensitzki" userId="75cafe6b-2f2a-469b-85c4-eec3b9c972ba" providerId="ADAL" clId="{B1462F1E-0CE4-4310-BDB3-DCDEDFDFEA3A}" dt="2023-08-14T16:13:07.146" v="299" actId="700"/>
          <ac:spMkLst>
            <pc:docMk/>
            <pc:sldMk cId="3956272902" sldId="766"/>
            <ac:spMk id="2" creationId="{413011A2-2019-5663-6885-F8F5CEFB3722}"/>
          </ac:spMkLst>
        </pc:spChg>
        <pc:spChg chg="del">
          <ac:chgData name="Thomas Stensitzki" userId="75cafe6b-2f2a-469b-85c4-eec3b9c972ba" providerId="ADAL" clId="{B1462F1E-0CE4-4310-BDB3-DCDEDFDFEA3A}" dt="2023-08-14T16:13:07.146" v="299" actId="700"/>
          <ac:spMkLst>
            <pc:docMk/>
            <pc:sldMk cId="3956272902" sldId="766"/>
            <ac:spMk id="3" creationId="{4926A21D-D00B-6809-4C6D-D73BCD4C986A}"/>
          </ac:spMkLst>
        </pc:spChg>
        <pc:spChg chg="add mod ord">
          <ac:chgData name="Thomas Stensitzki" userId="75cafe6b-2f2a-469b-85c4-eec3b9c972ba" providerId="ADAL" clId="{B1462F1E-0CE4-4310-BDB3-DCDEDFDFEA3A}" dt="2023-08-14T16:13:07.146" v="299" actId="700"/>
          <ac:spMkLst>
            <pc:docMk/>
            <pc:sldMk cId="3956272902" sldId="766"/>
            <ac:spMk id="4" creationId="{083A6199-FB12-AE21-AC4D-F4F75CB53612}"/>
          </ac:spMkLst>
        </pc:spChg>
        <pc:spChg chg="add del">
          <ac:chgData name="Thomas Stensitzki" userId="75cafe6b-2f2a-469b-85c4-eec3b9c972ba" providerId="ADAL" clId="{B1462F1E-0CE4-4310-BDB3-DCDEDFDFEA3A}" dt="2023-08-14T16:13:10.201" v="301" actId="22"/>
          <ac:spMkLst>
            <pc:docMk/>
            <pc:sldMk cId="3956272902" sldId="766"/>
            <ac:spMk id="6" creationId="{FEA5EB2B-25D0-BEC1-B935-D77D07843D7D}"/>
          </ac:spMkLst>
        </pc:spChg>
        <pc:picChg chg="add mod">
          <ac:chgData name="Thomas Stensitzki" userId="75cafe6b-2f2a-469b-85c4-eec3b9c972ba" providerId="ADAL" clId="{B1462F1E-0CE4-4310-BDB3-DCDEDFDFEA3A}" dt="2023-08-14T16:13:31.176" v="305" actId="1440"/>
          <ac:picMkLst>
            <pc:docMk/>
            <pc:sldMk cId="3956272902" sldId="766"/>
            <ac:picMk id="8" creationId="{A5A81896-D298-DF9D-40D7-06F3FBA35725}"/>
          </ac:picMkLst>
        </pc:picChg>
      </pc:sldChg>
      <pc:sldChg chg="modSp add mod ord">
        <pc:chgData name="Thomas Stensitzki" userId="75cafe6b-2f2a-469b-85c4-eec3b9c972ba" providerId="ADAL" clId="{B1462F1E-0CE4-4310-BDB3-DCDEDFDFEA3A}" dt="2023-10-26T09:27:57.516" v="2528" actId="1036"/>
        <pc:sldMkLst>
          <pc:docMk/>
          <pc:sldMk cId="1072098424" sldId="767"/>
        </pc:sldMkLst>
        <pc:spChg chg="mod">
          <ac:chgData name="Thomas Stensitzki" userId="75cafe6b-2f2a-469b-85c4-eec3b9c972ba" providerId="ADAL" clId="{B1462F1E-0CE4-4310-BDB3-DCDEDFDFEA3A}" dt="2023-10-26T09:27:57.516" v="2528" actId="1036"/>
          <ac:spMkLst>
            <pc:docMk/>
            <pc:sldMk cId="1072098424" sldId="767"/>
            <ac:spMk id="2" creationId="{909DC09D-B9A6-4493-9A72-1CA7ECB1F5CA}"/>
          </ac:spMkLst>
        </pc:spChg>
      </pc:sldChg>
      <pc:sldChg chg="del">
        <pc:chgData name="Thomas Stensitzki" userId="75cafe6b-2f2a-469b-85c4-eec3b9c972ba" providerId="ADAL" clId="{B1462F1E-0CE4-4310-BDB3-DCDEDFDFEA3A}" dt="2023-08-14T14:44:30.908" v="71" actId="47"/>
        <pc:sldMkLst>
          <pc:docMk/>
          <pc:sldMk cId="2531410684" sldId="767"/>
        </pc:sldMkLst>
      </pc:sldChg>
      <pc:sldChg chg="modSp add del mod">
        <pc:chgData name="Thomas Stensitzki" userId="75cafe6b-2f2a-469b-85c4-eec3b9c972ba" providerId="ADAL" clId="{B1462F1E-0CE4-4310-BDB3-DCDEDFDFEA3A}" dt="2023-10-21T14:40:38.874" v="398" actId="47"/>
        <pc:sldMkLst>
          <pc:docMk/>
          <pc:sldMk cId="3460402903" sldId="767"/>
        </pc:sldMkLst>
        <pc:picChg chg="mod">
          <ac:chgData name="Thomas Stensitzki" userId="75cafe6b-2f2a-469b-85c4-eec3b9c972ba" providerId="ADAL" clId="{B1462F1E-0CE4-4310-BDB3-DCDEDFDFEA3A}" dt="2023-08-14T16:14:40.674" v="307" actId="14826"/>
          <ac:picMkLst>
            <pc:docMk/>
            <pc:sldMk cId="3460402903" sldId="767"/>
            <ac:picMk id="8" creationId="{A5A81896-D298-DF9D-40D7-06F3FBA35725}"/>
          </ac:picMkLst>
        </pc:picChg>
      </pc:sldChg>
      <pc:sldChg chg="del">
        <pc:chgData name="Thomas Stensitzki" userId="75cafe6b-2f2a-469b-85c4-eec3b9c972ba" providerId="ADAL" clId="{B1462F1E-0CE4-4310-BDB3-DCDEDFDFEA3A}" dt="2023-08-14T14:44:30.908" v="71" actId="47"/>
        <pc:sldMkLst>
          <pc:docMk/>
          <pc:sldMk cId="466978322" sldId="768"/>
        </pc:sldMkLst>
      </pc:sldChg>
      <pc:sldChg chg="addSp delSp new del mod">
        <pc:chgData name="Thomas Stensitzki" userId="75cafe6b-2f2a-469b-85c4-eec3b9c972ba" providerId="ADAL" clId="{B1462F1E-0CE4-4310-BDB3-DCDEDFDFEA3A}" dt="2023-10-21T14:40:38.874" v="398" actId="47"/>
        <pc:sldMkLst>
          <pc:docMk/>
          <pc:sldMk cId="2801496755" sldId="768"/>
        </pc:sldMkLst>
        <pc:picChg chg="add del">
          <ac:chgData name="Thomas Stensitzki" userId="75cafe6b-2f2a-469b-85c4-eec3b9c972ba" providerId="ADAL" clId="{B1462F1E-0CE4-4310-BDB3-DCDEDFDFEA3A}" dt="2023-08-14T16:18:06.925" v="310" actId="22"/>
          <ac:picMkLst>
            <pc:docMk/>
            <pc:sldMk cId="2801496755" sldId="768"/>
            <ac:picMk id="4" creationId="{B6A5F679-A63D-5956-DAAD-FA405B000DA5}"/>
          </ac:picMkLst>
        </pc:picChg>
        <pc:picChg chg="add">
          <ac:chgData name="Thomas Stensitzki" userId="75cafe6b-2f2a-469b-85c4-eec3b9c972ba" providerId="ADAL" clId="{B1462F1E-0CE4-4310-BDB3-DCDEDFDFEA3A}" dt="2023-08-14T16:18:14.121" v="311" actId="22"/>
          <ac:picMkLst>
            <pc:docMk/>
            <pc:sldMk cId="2801496755" sldId="768"/>
            <ac:picMk id="6" creationId="{0BA0DF4E-C805-2093-432E-5EB9E5617599}"/>
          </ac:picMkLst>
        </pc:picChg>
      </pc:sldChg>
      <pc:sldChg chg="modSp add mod ord">
        <pc:chgData name="Thomas Stensitzki" userId="75cafe6b-2f2a-469b-85c4-eec3b9c972ba" providerId="ADAL" clId="{B1462F1E-0CE4-4310-BDB3-DCDEDFDFEA3A}" dt="2023-10-26T09:28:27.130" v="2534" actId="1076"/>
        <pc:sldMkLst>
          <pc:docMk/>
          <pc:sldMk cId="3015216465" sldId="768"/>
        </pc:sldMkLst>
        <pc:spChg chg="mod">
          <ac:chgData name="Thomas Stensitzki" userId="75cafe6b-2f2a-469b-85c4-eec3b9c972ba" providerId="ADAL" clId="{B1462F1E-0CE4-4310-BDB3-DCDEDFDFEA3A}" dt="2023-10-26T09:28:27.130" v="2534" actId="1076"/>
          <ac:spMkLst>
            <pc:docMk/>
            <pc:sldMk cId="3015216465" sldId="768"/>
            <ac:spMk id="2" creationId="{909DC09D-B9A6-4493-9A72-1CA7ECB1F5CA}"/>
          </ac:spMkLst>
        </pc:spChg>
      </pc:sldChg>
      <pc:sldChg chg="addSp new del mod">
        <pc:chgData name="Thomas Stensitzki" userId="75cafe6b-2f2a-469b-85c4-eec3b9c972ba" providerId="ADAL" clId="{B1462F1E-0CE4-4310-BDB3-DCDEDFDFEA3A}" dt="2023-10-21T14:40:38.874" v="398" actId="47"/>
        <pc:sldMkLst>
          <pc:docMk/>
          <pc:sldMk cId="3299554368" sldId="769"/>
        </pc:sldMkLst>
        <pc:picChg chg="add">
          <ac:chgData name="Thomas Stensitzki" userId="75cafe6b-2f2a-469b-85c4-eec3b9c972ba" providerId="ADAL" clId="{B1462F1E-0CE4-4310-BDB3-DCDEDFDFEA3A}" dt="2023-08-14T16:22:24.393" v="313" actId="22"/>
          <ac:picMkLst>
            <pc:docMk/>
            <pc:sldMk cId="3299554368" sldId="769"/>
            <ac:picMk id="4" creationId="{140B0127-B551-80B0-2892-D5D3434F3459}"/>
          </ac:picMkLst>
        </pc:picChg>
      </pc:sldChg>
      <pc:sldChg chg="modSp add mod ord">
        <pc:chgData name="Thomas Stensitzki" userId="75cafe6b-2f2a-469b-85c4-eec3b9c972ba" providerId="ADAL" clId="{B1462F1E-0CE4-4310-BDB3-DCDEDFDFEA3A}" dt="2023-10-26T09:30:18.108" v="2538" actId="1076"/>
        <pc:sldMkLst>
          <pc:docMk/>
          <pc:sldMk cId="3341696552" sldId="769"/>
        </pc:sldMkLst>
        <pc:spChg chg="mod">
          <ac:chgData name="Thomas Stensitzki" userId="75cafe6b-2f2a-469b-85c4-eec3b9c972ba" providerId="ADAL" clId="{B1462F1E-0CE4-4310-BDB3-DCDEDFDFEA3A}" dt="2023-10-26T09:30:18.108" v="2538" actId="1076"/>
          <ac:spMkLst>
            <pc:docMk/>
            <pc:sldMk cId="3341696552" sldId="769"/>
            <ac:spMk id="2" creationId="{909DC09D-B9A6-4493-9A72-1CA7ECB1F5CA}"/>
          </ac:spMkLst>
        </pc:spChg>
      </pc:sldChg>
      <pc:sldChg chg="del">
        <pc:chgData name="Thomas Stensitzki" userId="75cafe6b-2f2a-469b-85c4-eec3b9c972ba" providerId="ADAL" clId="{B1462F1E-0CE4-4310-BDB3-DCDEDFDFEA3A}" dt="2023-08-14T14:44:30.908" v="71" actId="47"/>
        <pc:sldMkLst>
          <pc:docMk/>
          <pc:sldMk cId="3413044843" sldId="769"/>
        </pc:sldMkLst>
      </pc:sldChg>
      <pc:sldChg chg="del">
        <pc:chgData name="Thomas Stensitzki" userId="75cafe6b-2f2a-469b-85c4-eec3b9c972ba" providerId="ADAL" clId="{B1462F1E-0CE4-4310-BDB3-DCDEDFDFEA3A}" dt="2023-08-14T14:44:30.908" v="71" actId="47"/>
        <pc:sldMkLst>
          <pc:docMk/>
          <pc:sldMk cId="679298916" sldId="770"/>
        </pc:sldMkLst>
      </pc:sldChg>
      <pc:sldChg chg="modSp add mod ord">
        <pc:chgData name="Thomas Stensitzki" userId="75cafe6b-2f2a-469b-85c4-eec3b9c972ba" providerId="ADAL" clId="{B1462F1E-0CE4-4310-BDB3-DCDEDFDFEA3A}" dt="2023-10-26T09:31:02.404" v="2546" actId="1076"/>
        <pc:sldMkLst>
          <pc:docMk/>
          <pc:sldMk cId="1862083116" sldId="770"/>
        </pc:sldMkLst>
        <pc:spChg chg="mod">
          <ac:chgData name="Thomas Stensitzki" userId="75cafe6b-2f2a-469b-85c4-eec3b9c972ba" providerId="ADAL" clId="{B1462F1E-0CE4-4310-BDB3-DCDEDFDFEA3A}" dt="2023-10-26T09:31:02.404" v="2546" actId="1076"/>
          <ac:spMkLst>
            <pc:docMk/>
            <pc:sldMk cId="1862083116" sldId="770"/>
            <ac:spMk id="2" creationId="{909DC09D-B9A6-4493-9A72-1CA7ECB1F5CA}"/>
          </ac:spMkLst>
        </pc:spChg>
      </pc:sldChg>
      <pc:sldChg chg="addSp modSp new del mod">
        <pc:chgData name="Thomas Stensitzki" userId="75cafe6b-2f2a-469b-85c4-eec3b9c972ba" providerId="ADAL" clId="{B1462F1E-0CE4-4310-BDB3-DCDEDFDFEA3A}" dt="2023-10-21T14:40:38.874" v="398" actId="47"/>
        <pc:sldMkLst>
          <pc:docMk/>
          <pc:sldMk cId="1945898391" sldId="770"/>
        </pc:sldMkLst>
        <pc:picChg chg="add mod">
          <ac:chgData name="Thomas Stensitzki" userId="75cafe6b-2f2a-469b-85c4-eec3b9c972ba" providerId="ADAL" clId="{B1462F1E-0CE4-4310-BDB3-DCDEDFDFEA3A}" dt="2023-08-14T16:26:31.378" v="317" actId="1076"/>
          <ac:picMkLst>
            <pc:docMk/>
            <pc:sldMk cId="1945898391" sldId="770"/>
            <ac:picMk id="4" creationId="{664F28CA-D864-8C19-69D9-AABBDA93A566}"/>
          </ac:picMkLst>
        </pc:picChg>
      </pc:sldChg>
      <pc:sldChg chg="del">
        <pc:chgData name="Thomas Stensitzki" userId="75cafe6b-2f2a-469b-85c4-eec3b9c972ba" providerId="ADAL" clId="{B1462F1E-0CE4-4310-BDB3-DCDEDFDFEA3A}" dt="2023-08-14T14:44:30.908" v="71" actId="47"/>
        <pc:sldMkLst>
          <pc:docMk/>
          <pc:sldMk cId="1476531" sldId="771"/>
        </pc:sldMkLst>
      </pc:sldChg>
      <pc:sldChg chg="addSp modSp new del mod">
        <pc:chgData name="Thomas Stensitzki" userId="75cafe6b-2f2a-469b-85c4-eec3b9c972ba" providerId="ADAL" clId="{B1462F1E-0CE4-4310-BDB3-DCDEDFDFEA3A}" dt="2023-10-21T14:40:38.874" v="398" actId="47"/>
        <pc:sldMkLst>
          <pc:docMk/>
          <pc:sldMk cId="2085927561" sldId="771"/>
        </pc:sldMkLst>
        <pc:picChg chg="add mod">
          <ac:chgData name="Thomas Stensitzki" userId="75cafe6b-2f2a-469b-85c4-eec3b9c972ba" providerId="ADAL" clId="{B1462F1E-0CE4-4310-BDB3-DCDEDFDFEA3A}" dt="2023-08-14T16:27:56.682" v="321" actId="1076"/>
          <ac:picMkLst>
            <pc:docMk/>
            <pc:sldMk cId="2085927561" sldId="771"/>
            <ac:picMk id="4" creationId="{CF020303-0A6E-056A-3D3E-08CAB69A2633}"/>
          </ac:picMkLst>
        </pc:picChg>
      </pc:sldChg>
      <pc:sldChg chg="modSp add mod ord">
        <pc:chgData name="Thomas Stensitzki" userId="75cafe6b-2f2a-469b-85c4-eec3b9c972ba" providerId="ADAL" clId="{B1462F1E-0CE4-4310-BDB3-DCDEDFDFEA3A}" dt="2023-10-26T09:31:32.327" v="2553" actId="14100"/>
        <pc:sldMkLst>
          <pc:docMk/>
          <pc:sldMk cId="3596702180" sldId="771"/>
        </pc:sldMkLst>
        <pc:spChg chg="mod">
          <ac:chgData name="Thomas Stensitzki" userId="75cafe6b-2f2a-469b-85c4-eec3b9c972ba" providerId="ADAL" clId="{B1462F1E-0CE4-4310-BDB3-DCDEDFDFEA3A}" dt="2023-10-26T09:31:32.327" v="2553" actId="14100"/>
          <ac:spMkLst>
            <pc:docMk/>
            <pc:sldMk cId="3596702180" sldId="771"/>
            <ac:spMk id="2" creationId="{909DC09D-B9A6-4493-9A72-1CA7ECB1F5CA}"/>
          </ac:spMkLst>
        </pc:spChg>
      </pc:sldChg>
      <pc:sldChg chg="addSp modSp new del mod">
        <pc:chgData name="Thomas Stensitzki" userId="75cafe6b-2f2a-469b-85c4-eec3b9c972ba" providerId="ADAL" clId="{B1462F1E-0CE4-4310-BDB3-DCDEDFDFEA3A}" dt="2023-10-21T14:40:40.593" v="399" actId="47"/>
        <pc:sldMkLst>
          <pc:docMk/>
          <pc:sldMk cId="1916890412" sldId="772"/>
        </pc:sldMkLst>
        <pc:picChg chg="add mod">
          <ac:chgData name="Thomas Stensitzki" userId="75cafe6b-2f2a-469b-85c4-eec3b9c972ba" providerId="ADAL" clId="{B1462F1E-0CE4-4310-BDB3-DCDEDFDFEA3A}" dt="2023-08-14T16:29:38.289" v="325" actId="1076"/>
          <ac:picMkLst>
            <pc:docMk/>
            <pc:sldMk cId="1916890412" sldId="772"/>
            <ac:picMk id="4" creationId="{5EB0DF70-CC2B-1292-6FA5-87C3CDB0459D}"/>
          </ac:picMkLst>
        </pc:picChg>
      </pc:sldChg>
      <pc:sldChg chg="modSp add mod ord">
        <pc:chgData name="Thomas Stensitzki" userId="75cafe6b-2f2a-469b-85c4-eec3b9c972ba" providerId="ADAL" clId="{B1462F1E-0CE4-4310-BDB3-DCDEDFDFEA3A}" dt="2023-10-26T09:31:52.248" v="2558" actId="14100"/>
        <pc:sldMkLst>
          <pc:docMk/>
          <pc:sldMk cId="2393292893" sldId="772"/>
        </pc:sldMkLst>
        <pc:spChg chg="mod">
          <ac:chgData name="Thomas Stensitzki" userId="75cafe6b-2f2a-469b-85c4-eec3b9c972ba" providerId="ADAL" clId="{B1462F1E-0CE4-4310-BDB3-DCDEDFDFEA3A}" dt="2023-10-26T09:31:52.248" v="2558" actId="14100"/>
          <ac:spMkLst>
            <pc:docMk/>
            <pc:sldMk cId="2393292893" sldId="772"/>
            <ac:spMk id="2" creationId="{909DC09D-B9A6-4493-9A72-1CA7ECB1F5CA}"/>
          </ac:spMkLst>
        </pc:spChg>
      </pc:sldChg>
      <pc:sldChg chg="addSp modSp new del mod">
        <pc:chgData name="Thomas Stensitzki" userId="75cafe6b-2f2a-469b-85c4-eec3b9c972ba" providerId="ADAL" clId="{B1462F1E-0CE4-4310-BDB3-DCDEDFDFEA3A}" dt="2023-10-21T14:40:40.593" v="399" actId="47"/>
        <pc:sldMkLst>
          <pc:docMk/>
          <pc:sldMk cId="3206471218" sldId="773"/>
        </pc:sldMkLst>
        <pc:picChg chg="add mod">
          <ac:chgData name="Thomas Stensitzki" userId="75cafe6b-2f2a-469b-85c4-eec3b9c972ba" providerId="ADAL" clId="{B1462F1E-0CE4-4310-BDB3-DCDEDFDFEA3A}" dt="2023-08-14T16:30:44.291" v="329" actId="1076"/>
          <ac:picMkLst>
            <pc:docMk/>
            <pc:sldMk cId="3206471218" sldId="773"/>
            <ac:picMk id="4" creationId="{F1930ACF-B5BA-2382-55AF-AE20E0532D18}"/>
          </ac:picMkLst>
        </pc:picChg>
      </pc:sldChg>
      <pc:sldChg chg="modSp add mod ord">
        <pc:chgData name="Thomas Stensitzki" userId="75cafe6b-2f2a-469b-85c4-eec3b9c972ba" providerId="ADAL" clId="{B1462F1E-0CE4-4310-BDB3-DCDEDFDFEA3A}" dt="2023-10-26T09:33:05.298" v="2565" actId="14100"/>
        <pc:sldMkLst>
          <pc:docMk/>
          <pc:sldMk cId="3637642839" sldId="773"/>
        </pc:sldMkLst>
        <pc:spChg chg="mod">
          <ac:chgData name="Thomas Stensitzki" userId="75cafe6b-2f2a-469b-85c4-eec3b9c972ba" providerId="ADAL" clId="{B1462F1E-0CE4-4310-BDB3-DCDEDFDFEA3A}" dt="2023-10-26T09:33:05.298" v="2565" actId="14100"/>
          <ac:spMkLst>
            <pc:docMk/>
            <pc:sldMk cId="3637642839" sldId="773"/>
            <ac:spMk id="2" creationId="{909DC09D-B9A6-4493-9A72-1CA7ECB1F5CA}"/>
          </ac:spMkLst>
        </pc:spChg>
      </pc:sldChg>
      <pc:sldChg chg="addSp delSp modSp new mod modClrScheme chgLayout">
        <pc:chgData name="Thomas Stensitzki" userId="75cafe6b-2f2a-469b-85c4-eec3b9c972ba" providerId="ADAL" clId="{B1462F1E-0CE4-4310-BDB3-DCDEDFDFEA3A}" dt="2023-10-26T09:38:30.087" v="2582"/>
        <pc:sldMkLst>
          <pc:docMk/>
          <pc:sldMk cId="300984612" sldId="774"/>
        </pc:sldMkLst>
        <pc:spChg chg="del mod ord">
          <ac:chgData name="Thomas Stensitzki" userId="75cafe6b-2f2a-469b-85c4-eec3b9c972ba" providerId="ADAL" clId="{B1462F1E-0CE4-4310-BDB3-DCDEDFDFEA3A}" dt="2023-10-26T09:37:26.938" v="2567" actId="700"/>
          <ac:spMkLst>
            <pc:docMk/>
            <pc:sldMk cId="300984612" sldId="774"/>
            <ac:spMk id="2" creationId="{5F59B9C2-881A-DDFB-68F1-A0B13D81A24C}"/>
          </ac:spMkLst>
        </pc:spChg>
        <pc:spChg chg="del mod ord">
          <ac:chgData name="Thomas Stensitzki" userId="75cafe6b-2f2a-469b-85c4-eec3b9c972ba" providerId="ADAL" clId="{B1462F1E-0CE4-4310-BDB3-DCDEDFDFEA3A}" dt="2023-10-26T09:37:26.938" v="2567" actId="700"/>
          <ac:spMkLst>
            <pc:docMk/>
            <pc:sldMk cId="300984612" sldId="774"/>
            <ac:spMk id="3" creationId="{D12C2DF6-83E8-25A3-1F77-B4C2D3A7B9C0}"/>
          </ac:spMkLst>
        </pc:spChg>
        <pc:spChg chg="add mod ord">
          <ac:chgData name="Thomas Stensitzki" userId="75cafe6b-2f2a-469b-85c4-eec3b9c972ba" providerId="ADAL" clId="{B1462F1E-0CE4-4310-BDB3-DCDEDFDFEA3A}" dt="2023-10-26T09:37:29.348" v="2573" actId="20577"/>
          <ac:spMkLst>
            <pc:docMk/>
            <pc:sldMk cId="300984612" sldId="774"/>
            <ac:spMk id="4" creationId="{7534D53D-CBAC-847B-0F05-996F728A734C}"/>
          </ac:spMkLst>
        </pc:spChg>
        <pc:spChg chg="add mod ord">
          <ac:chgData name="Thomas Stensitzki" userId="75cafe6b-2f2a-469b-85c4-eec3b9c972ba" providerId="ADAL" clId="{B1462F1E-0CE4-4310-BDB3-DCDEDFDFEA3A}" dt="2023-10-26T09:38:30.087" v="2582"/>
          <ac:spMkLst>
            <pc:docMk/>
            <pc:sldMk cId="300984612" sldId="774"/>
            <ac:spMk id="5" creationId="{EB3EE15C-31D3-4DE1-85CD-5E2D24291A49}"/>
          </ac:spMkLst>
        </pc:spChg>
      </pc:sldChg>
      <pc:sldChg chg="addSp new del mod">
        <pc:chgData name="Thomas Stensitzki" userId="75cafe6b-2f2a-469b-85c4-eec3b9c972ba" providerId="ADAL" clId="{B1462F1E-0CE4-4310-BDB3-DCDEDFDFEA3A}" dt="2023-10-21T14:40:40.593" v="399" actId="47"/>
        <pc:sldMkLst>
          <pc:docMk/>
          <pc:sldMk cId="1625589664" sldId="774"/>
        </pc:sldMkLst>
        <pc:picChg chg="add">
          <ac:chgData name="Thomas Stensitzki" userId="75cafe6b-2f2a-469b-85c4-eec3b9c972ba" providerId="ADAL" clId="{B1462F1E-0CE4-4310-BDB3-DCDEDFDFEA3A}" dt="2023-08-14T16:31:28.240" v="331" actId="22"/>
          <ac:picMkLst>
            <pc:docMk/>
            <pc:sldMk cId="1625589664" sldId="774"/>
            <ac:picMk id="4" creationId="{A4489DB3-18F0-4E0A-2828-541BF3437148}"/>
          </ac:picMkLst>
        </pc:picChg>
      </pc:sldChg>
      <pc:sldChg chg="modSp add mod modNotesTx">
        <pc:chgData name="Thomas Stensitzki" userId="75cafe6b-2f2a-469b-85c4-eec3b9c972ba" providerId="ADAL" clId="{B1462F1E-0CE4-4310-BDB3-DCDEDFDFEA3A}" dt="2023-10-26T09:49:17.073" v="2613"/>
        <pc:sldMkLst>
          <pc:docMk/>
          <pc:sldMk cId="1215936229" sldId="775"/>
        </pc:sldMkLst>
        <pc:spChg chg="mod">
          <ac:chgData name="Thomas Stensitzki" userId="75cafe6b-2f2a-469b-85c4-eec3b9c972ba" providerId="ADAL" clId="{B1462F1E-0CE4-4310-BDB3-DCDEDFDFEA3A}" dt="2023-10-26T09:46:23.946" v="2584"/>
          <ac:spMkLst>
            <pc:docMk/>
            <pc:sldMk cId="1215936229" sldId="775"/>
            <ac:spMk id="4" creationId="{7534D53D-CBAC-847B-0F05-996F728A734C}"/>
          </ac:spMkLst>
        </pc:spChg>
        <pc:spChg chg="mod">
          <ac:chgData name="Thomas Stensitzki" userId="75cafe6b-2f2a-469b-85c4-eec3b9c972ba" providerId="ADAL" clId="{B1462F1E-0CE4-4310-BDB3-DCDEDFDFEA3A}" dt="2023-10-26T09:47:45.355" v="2610" actId="113"/>
          <ac:spMkLst>
            <pc:docMk/>
            <pc:sldMk cId="1215936229" sldId="775"/>
            <ac:spMk id="5" creationId="{EB3EE15C-31D3-4DE1-85CD-5E2D24291A49}"/>
          </ac:spMkLst>
        </pc:spChg>
      </pc:sldChg>
      <pc:sldChg chg="addSp new del mod">
        <pc:chgData name="Thomas Stensitzki" userId="75cafe6b-2f2a-469b-85c4-eec3b9c972ba" providerId="ADAL" clId="{B1462F1E-0CE4-4310-BDB3-DCDEDFDFEA3A}" dt="2023-10-21T14:40:40.593" v="399" actId="47"/>
        <pc:sldMkLst>
          <pc:docMk/>
          <pc:sldMk cId="1247548401" sldId="775"/>
        </pc:sldMkLst>
        <pc:picChg chg="add">
          <ac:chgData name="Thomas Stensitzki" userId="75cafe6b-2f2a-469b-85c4-eec3b9c972ba" providerId="ADAL" clId="{B1462F1E-0CE4-4310-BDB3-DCDEDFDFEA3A}" dt="2023-08-14T16:34:25.386" v="333" actId="22"/>
          <ac:picMkLst>
            <pc:docMk/>
            <pc:sldMk cId="1247548401" sldId="775"/>
            <ac:picMk id="4" creationId="{53F5F847-6EA6-93F9-EB67-6EA3249BC9F7}"/>
          </ac:picMkLst>
        </pc:picChg>
      </pc:sldChg>
      <pc:sldChg chg="addSp delSp modSp add mod">
        <pc:chgData name="Thomas Stensitzki" userId="75cafe6b-2f2a-469b-85c4-eec3b9c972ba" providerId="ADAL" clId="{B1462F1E-0CE4-4310-BDB3-DCDEDFDFEA3A}" dt="2023-10-26T09:55:26.846" v="2628" actId="478"/>
        <pc:sldMkLst>
          <pc:docMk/>
          <pc:sldMk cId="968451505" sldId="776"/>
        </pc:sldMkLst>
        <pc:spChg chg="add del">
          <ac:chgData name="Thomas Stensitzki" userId="75cafe6b-2f2a-469b-85c4-eec3b9c972ba" providerId="ADAL" clId="{B1462F1E-0CE4-4310-BDB3-DCDEDFDFEA3A}" dt="2023-10-26T09:54:01.498" v="2618" actId="22"/>
          <ac:spMkLst>
            <pc:docMk/>
            <pc:sldMk cId="968451505" sldId="776"/>
            <ac:spMk id="3" creationId="{89E329FB-3DE2-951E-24B9-FE7BF8FB76FF}"/>
          </ac:spMkLst>
        </pc:spChg>
        <pc:spChg chg="mod">
          <ac:chgData name="Thomas Stensitzki" userId="75cafe6b-2f2a-469b-85c4-eec3b9c972ba" providerId="ADAL" clId="{B1462F1E-0CE4-4310-BDB3-DCDEDFDFEA3A}" dt="2023-10-26T09:49:29.125" v="2615"/>
          <ac:spMkLst>
            <pc:docMk/>
            <pc:sldMk cId="968451505" sldId="776"/>
            <ac:spMk id="4" creationId="{7534D53D-CBAC-847B-0F05-996F728A734C}"/>
          </ac:spMkLst>
        </pc:spChg>
        <pc:spChg chg="del mod">
          <ac:chgData name="Thomas Stensitzki" userId="75cafe6b-2f2a-469b-85c4-eec3b9c972ba" providerId="ADAL" clId="{B1462F1E-0CE4-4310-BDB3-DCDEDFDFEA3A}" dt="2023-10-26T09:55:26.846" v="2628" actId="478"/>
          <ac:spMkLst>
            <pc:docMk/>
            <pc:sldMk cId="968451505" sldId="776"/>
            <ac:spMk id="5" creationId="{EB3EE15C-31D3-4DE1-85CD-5E2D24291A49}"/>
          </ac:spMkLst>
        </pc:spChg>
        <pc:spChg chg="add del">
          <ac:chgData name="Thomas Stensitzki" userId="75cafe6b-2f2a-469b-85c4-eec3b9c972ba" providerId="ADAL" clId="{B1462F1E-0CE4-4310-BDB3-DCDEDFDFEA3A}" dt="2023-10-26T09:54:10.263" v="2620" actId="22"/>
          <ac:spMkLst>
            <pc:docMk/>
            <pc:sldMk cId="968451505" sldId="776"/>
            <ac:spMk id="7" creationId="{E7C56540-9CDD-17FE-0064-E3DABB4F184E}"/>
          </ac:spMkLst>
        </pc:spChg>
        <pc:picChg chg="add mod">
          <ac:chgData name="Thomas Stensitzki" userId="75cafe6b-2f2a-469b-85c4-eec3b9c972ba" providerId="ADAL" clId="{B1462F1E-0CE4-4310-BDB3-DCDEDFDFEA3A}" dt="2023-10-26T09:55:24.972" v="2627" actId="1076"/>
          <ac:picMkLst>
            <pc:docMk/>
            <pc:sldMk cId="968451505" sldId="776"/>
            <ac:picMk id="9" creationId="{CE9D7C96-D56D-9727-4220-30C579E8537F}"/>
          </ac:picMkLst>
        </pc:picChg>
        <pc:picChg chg="add del mod">
          <ac:chgData name="Thomas Stensitzki" userId="75cafe6b-2f2a-469b-85c4-eec3b9c972ba" providerId="ADAL" clId="{B1462F1E-0CE4-4310-BDB3-DCDEDFDFEA3A}" dt="2023-10-26T09:55:18.191" v="2624" actId="478"/>
          <ac:picMkLst>
            <pc:docMk/>
            <pc:sldMk cId="968451505" sldId="776"/>
            <ac:picMk id="1026" creationId="{EFD29C94-4B4F-651D-773D-954AC3A9B409}"/>
          </ac:picMkLst>
        </pc:picChg>
      </pc:sldChg>
      <pc:sldChg chg="addSp delSp modSp add mod">
        <pc:chgData name="Thomas Stensitzki" userId="75cafe6b-2f2a-469b-85c4-eec3b9c972ba" providerId="ADAL" clId="{B1462F1E-0CE4-4310-BDB3-DCDEDFDFEA3A}" dt="2023-10-26T10:00:51.798" v="3041" actId="404"/>
        <pc:sldMkLst>
          <pc:docMk/>
          <pc:sldMk cId="2373903630" sldId="777"/>
        </pc:sldMkLst>
        <pc:spChg chg="add mod">
          <ac:chgData name="Thomas Stensitzki" userId="75cafe6b-2f2a-469b-85c4-eec3b9c972ba" providerId="ADAL" clId="{B1462F1E-0CE4-4310-BDB3-DCDEDFDFEA3A}" dt="2023-10-26T10:00:51.798" v="3041" actId="404"/>
          <ac:spMkLst>
            <pc:docMk/>
            <pc:sldMk cId="2373903630" sldId="777"/>
            <ac:spMk id="2" creationId="{F7DA8F79-2538-0C43-E35E-FD481A70A55B}"/>
          </ac:spMkLst>
        </pc:spChg>
        <pc:picChg chg="del">
          <ac:chgData name="Thomas Stensitzki" userId="75cafe6b-2f2a-469b-85c4-eec3b9c972ba" providerId="ADAL" clId="{B1462F1E-0CE4-4310-BDB3-DCDEDFDFEA3A}" dt="2023-10-26T09:55:43.577" v="2630" actId="478"/>
          <ac:picMkLst>
            <pc:docMk/>
            <pc:sldMk cId="2373903630" sldId="777"/>
            <ac:picMk id="9" creationId="{CE9D7C96-D56D-9727-4220-30C579E8537F}"/>
          </ac:picMkLst>
        </pc:picChg>
      </pc:sldChg>
      <pc:sldChg chg="modSp new mod modNotesTx">
        <pc:chgData name="Thomas Stensitzki" userId="75cafe6b-2f2a-469b-85c4-eec3b9c972ba" providerId="ADAL" clId="{B1462F1E-0CE4-4310-BDB3-DCDEDFDFEA3A}" dt="2023-10-26T10:03:13.752" v="3071"/>
        <pc:sldMkLst>
          <pc:docMk/>
          <pc:sldMk cId="2758939317" sldId="778"/>
        </pc:sldMkLst>
        <pc:spChg chg="mod">
          <ac:chgData name="Thomas Stensitzki" userId="75cafe6b-2f2a-469b-85c4-eec3b9c972ba" providerId="ADAL" clId="{B1462F1E-0CE4-4310-BDB3-DCDEDFDFEA3A}" dt="2023-10-26T10:01:53.919" v="3043"/>
          <ac:spMkLst>
            <pc:docMk/>
            <pc:sldMk cId="2758939317" sldId="778"/>
            <ac:spMk id="2" creationId="{188CE960-92EA-9363-AD0B-76B0D9A800A3}"/>
          </ac:spMkLst>
        </pc:spChg>
        <pc:spChg chg="mod">
          <ac:chgData name="Thomas Stensitzki" userId="75cafe6b-2f2a-469b-85c4-eec3b9c972ba" providerId="ADAL" clId="{B1462F1E-0CE4-4310-BDB3-DCDEDFDFEA3A}" dt="2023-10-26T10:02:02.335" v="3070" actId="20577"/>
          <ac:spMkLst>
            <pc:docMk/>
            <pc:sldMk cId="2758939317" sldId="778"/>
            <ac:spMk id="3" creationId="{562391BD-AE54-4F1C-879F-315F7F52F759}"/>
          </ac:spMkLst>
        </pc:spChg>
      </pc:sldChg>
      <pc:sldChg chg="modSp add mod ord">
        <pc:chgData name="Thomas Stensitzki" userId="75cafe6b-2f2a-469b-85c4-eec3b9c972ba" providerId="ADAL" clId="{B1462F1E-0CE4-4310-BDB3-DCDEDFDFEA3A}" dt="2023-10-31T11:26:00.958" v="3080" actId="14100"/>
        <pc:sldMkLst>
          <pc:docMk/>
          <pc:sldMk cId="2052217329" sldId="779"/>
        </pc:sldMkLst>
        <pc:spChg chg="mod">
          <ac:chgData name="Thomas Stensitzki" userId="75cafe6b-2f2a-469b-85c4-eec3b9c972ba" providerId="ADAL" clId="{B1462F1E-0CE4-4310-BDB3-DCDEDFDFEA3A}" dt="2023-10-31T11:26:00.958" v="3080" actId="14100"/>
          <ac:spMkLst>
            <pc:docMk/>
            <pc:sldMk cId="2052217329" sldId="779"/>
            <ac:spMk id="2" creationId="{909DC09D-B9A6-4493-9A72-1CA7ECB1F5CA}"/>
          </ac:spMkLst>
        </pc:spChg>
      </pc:sldChg>
      <pc:sldChg chg="add del">
        <pc:chgData name="Thomas Stensitzki" userId="75cafe6b-2f2a-469b-85c4-eec3b9c972ba" providerId="ADAL" clId="{B1462F1E-0CE4-4310-BDB3-DCDEDFDFEA3A}" dt="2023-10-31T11:24:54.746" v="3075"/>
        <pc:sldMkLst>
          <pc:docMk/>
          <pc:sldMk cId="2724628692" sldId="779"/>
        </pc:sldMkLst>
      </pc:sldChg>
      <pc:sldChg chg="modSp add mod ord">
        <pc:chgData name="Thomas Stensitzki" userId="75cafe6b-2f2a-469b-85c4-eec3b9c972ba" providerId="ADAL" clId="{B1462F1E-0CE4-4310-BDB3-DCDEDFDFEA3A}" dt="2023-10-31T11:26:13.065" v="3084" actId="1076"/>
        <pc:sldMkLst>
          <pc:docMk/>
          <pc:sldMk cId="456002877" sldId="780"/>
        </pc:sldMkLst>
        <pc:spChg chg="mod">
          <ac:chgData name="Thomas Stensitzki" userId="75cafe6b-2f2a-469b-85c4-eec3b9c972ba" providerId="ADAL" clId="{B1462F1E-0CE4-4310-BDB3-DCDEDFDFEA3A}" dt="2023-10-31T11:26:13.065" v="3084" actId="1076"/>
          <ac:spMkLst>
            <pc:docMk/>
            <pc:sldMk cId="456002877" sldId="780"/>
            <ac:spMk id="2" creationId="{909DC09D-B9A6-4493-9A72-1CA7ECB1F5CA}"/>
          </ac:spMkLst>
        </pc:spChg>
      </pc:sldChg>
      <pc:sldChg chg="modSp add mod ord">
        <pc:chgData name="Thomas Stensitzki" userId="75cafe6b-2f2a-469b-85c4-eec3b9c972ba" providerId="ADAL" clId="{B1462F1E-0CE4-4310-BDB3-DCDEDFDFEA3A}" dt="2023-10-31T11:26:28.276" v="3088" actId="1076"/>
        <pc:sldMkLst>
          <pc:docMk/>
          <pc:sldMk cId="1666844012" sldId="781"/>
        </pc:sldMkLst>
        <pc:spChg chg="mod">
          <ac:chgData name="Thomas Stensitzki" userId="75cafe6b-2f2a-469b-85c4-eec3b9c972ba" providerId="ADAL" clId="{B1462F1E-0CE4-4310-BDB3-DCDEDFDFEA3A}" dt="2023-10-31T11:26:28.276" v="3088" actId="1076"/>
          <ac:spMkLst>
            <pc:docMk/>
            <pc:sldMk cId="1666844012" sldId="781"/>
            <ac:spMk id="2" creationId="{909DC09D-B9A6-4493-9A72-1CA7ECB1F5CA}"/>
          </ac:spMkLst>
        </pc:spChg>
      </pc:sldChg>
      <pc:sldChg chg="modSp add mod ord">
        <pc:chgData name="Thomas Stensitzki" userId="75cafe6b-2f2a-469b-85c4-eec3b9c972ba" providerId="ADAL" clId="{B1462F1E-0CE4-4310-BDB3-DCDEDFDFEA3A}" dt="2023-10-31T11:26:43.986" v="3092" actId="1076"/>
        <pc:sldMkLst>
          <pc:docMk/>
          <pc:sldMk cId="1365151735" sldId="782"/>
        </pc:sldMkLst>
        <pc:spChg chg="mod">
          <ac:chgData name="Thomas Stensitzki" userId="75cafe6b-2f2a-469b-85c4-eec3b9c972ba" providerId="ADAL" clId="{B1462F1E-0CE4-4310-BDB3-DCDEDFDFEA3A}" dt="2023-10-31T11:26:43.986" v="3092" actId="1076"/>
          <ac:spMkLst>
            <pc:docMk/>
            <pc:sldMk cId="1365151735" sldId="782"/>
            <ac:spMk id="2" creationId="{909DC09D-B9A6-4493-9A72-1CA7ECB1F5CA}"/>
          </ac:spMkLst>
        </pc:spChg>
      </pc:sldChg>
      <pc:sldChg chg="modSp add mod ord">
        <pc:chgData name="Thomas Stensitzki" userId="75cafe6b-2f2a-469b-85c4-eec3b9c972ba" providerId="ADAL" clId="{B1462F1E-0CE4-4310-BDB3-DCDEDFDFEA3A}" dt="2023-10-31T11:26:56.766" v="3096" actId="1076"/>
        <pc:sldMkLst>
          <pc:docMk/>
          <pc:sldMk cId="2345373174" sldId="783"/>
        </pc:sldMkLst>
        <pc:spChg chg="mod">
          <ac:chgData name="Thomas Stensitzki" userId="75cafe6b-2f2a-469b-85c4-eec3b9c972ba" providerId="ADAL" clId="{B1462F1E-0CE4-4310-BDB3-DCDEDFDFEA3A}" dt="2023-10-31T11:26:56.766" v="3096" actId="1076"/>
          <ac:spMkLst>
            <pc:docMk/>
            <pc:sldMk cId="2345373174" sldId="783"/>
            <ac:spMk id="2" creationId="{909DC09D-B9A6-4493-9A72-1CA7ECB1F5CA}"/>
          </ac:spMkLst>
        </pc:spChg>
      </pc:sldChg>
      <pc:sldChg chg="modSp add mod ord">
        <pc:chgData name="Thomas Stensitzki" userId="75cafe6b-2f2a-469b-85c4-eec3b9c972ba" providerId="ADAL" clId="{B1462F1E-0CE4-4310-BDB3-DCDEDFDFEA3A}" dt="2023-10-31T11:27:10.611" v="3100" actId="1076"/>
        <pc:sldMkLst>
          <pc:docMk/>
          <pc:sldMk cId="3111584397" sldId="784"/>
        </pc:sldMkLst>
        <pc:spChg chg="mod">
          <ac:chgData name="Thomas Stensitzki" userId="75cafe6b-2f2a-469b-85c4-eec3b9c972ba" providerId="ADAL" clId="{B1462F1E-0CE4-4310-BDB3-DCDEDFDFEA3A}" dt="2023-10-31T11:27:10.611" v="3100" actId="1076"/>
          <ac:spMkLst>
            <pc:docMk/>
            <pc:sldMk cId="3111584397" sldId="784"/>
            <ac:spMk id="2" creationId="{909DC09D-B9A6-4493-9A72-1CA7ECB1F5CA}"/>
          </ac:spMkLst>
        </pc:spChg>
      </pc:sldChg>
    </pc:docChg>
  </pc:docChgLst>
  <pc:docChgLst>
    <pc:chgData name="Thomas Stensitzki" userId="75cafe6b-2f2a-469b-85c4-eec3b9c972ba" providerId="ADAL" clId="{78A7489F-5177-4675-A072-D65159DC1369}"/>
    <pc:docChg chg="undo custSel addSld delSld modSld sldOrd modSection">
      <pc:chgData name="Thomas Stensitzki" userId="75cafe6b-2f2a-469b-85c4-eec3b9c972ba" providerId="ADAL" clId="{78A7489F-5177-4675-A072-D65159DC1369}" dt="2022-08-11T17:58:41.700" v="2407" actId="20577"/>
      <pc:docMkLst>
        <pc:docMk/>
      </pc:docMkLst>
      <pc:sldChg chg="modSp mod">
        <pc:chgData name="Thomas Stensitzki" userId="75cafe6b-2f2a-469b-85c4-eec3b9c972ba" providerId="ADAL" clId="{78A7489F-5177-4675-A072-D65159DC1369}" dt="2022-08-06T13:53:42.722" v="15" actId="6549"/>
        <pc:sldMkLst>
          <pc:docMk/>
          <pc:sldMk cId="671489701" sldId="256"/>
        </pc:sldMkLst>
        <pc:spChg chg="mod">
          <ac:chgData name="Thomas Stensitzki" userId="75cafe6b-2f2a-469b-85c4-eec3b9c972ba" providerId="ADAL" clId="{78A7489F-5177-4675-A072-D65159DC1369}" dt="2022-08-06T13:53:42.722" v="15" actId="6549"/>
          <ac:spMkLst>
            <pc:docMk/>
            <pc:sldMk cId="671489701" sldId="256"/>
            <ac:spMk id="3" creationId="{CBA95633-B02D-4A15-A8B1-A38E0A70FD27}"/>
          </ac:spMkLst>
        </pc:spChg>
      </pc:sldChg>
      <pc:sldChg chg="modSp mod">
        <pc:chgData name="Thomas Stensitzki" userId="75cafe6b-2f2a-469b-85c4-eec3b9c972ba" providerId="ADAL" clId="{78A7489F-5177-4675-A072-D65159DC1369}" dt="2022-08-06T13:55:53.434" v="107" actId="14734"/>
        <pc:sldMkLst>
          <pc:docMk/>
          <pc:sldMk cId="2855324227" sldId="257"/>
        </pc:sldMkLst>
        <pc:spChg chg="mod">
          <ac:chgData name="Thomas Stensitzki" userId="75cafe6b-2f2a-469b-85c4-eec3b9c972ba" providerId="ADAL" clId="{78A7489F-5177-4675-A072-D65159DC1369}" dt="2022-08-06T13:55:35.319" v="98" actId="20577"/>
          <ac:spMkLst>
            <pc:docMk/>
            <pc:sldMk cId="2855324227" sldId="257"/>
            <ac:spMk id="5" creationId="{EE6719E1-4DB6-4D58-BA77-937CF975247C}"/>
          </ac:spMkLst>
        </pc:spChg>
        <pc:graphicFrameChg chg="mod modGraphic">
          <ac:chgData name="Thomas Stensitzki" userId="75cafe6b-2f2a-469b-85c4-eec3b9c972ba" providerId="ADAL" clId="{78A7489F-5177-4675-A072-D65159DC1369}" dt="2022-08-06T13:55:53.434" v="107" actId="14734"/>
          <ac:graphicFrameMkLst>
            <pc:docMk/>
            <pc:sldMk cId="2855324227" sldId="257"/>
            <ac:graphicFrameMk id="6" creationId="{0F955DCC-462D-431D-BBDE-26F10687D590}"/>
          </ac:graphicFrameMkLst>
        </pc:graphicFrameChg>
      </pc:sldChg>
      <pc:sldChg chg="addSp modSp mod">
        <pc:chgData name="Thomas Stensitzki" userId="75cafe6b-2f2a-469b-85c4-eec3b9c972ba" providerId="ADAL" clId="{78A7489F-5177-4675-A072-D65159DC1369}" dt="2022-08-11T17:58:41.700" v="2407" actId="20577"/>
        <pc:sldMkLst>
          <pc:docMk/>
          <pc:sldMk cId="3332792154" sldId="258"/>
        </pc:sldMkLst>
        <pc:spChg chg="mod">
          <ac:chgData name="Thomas Stensitzki" userId="75cafe6b-2f2a-469b-85c4-eec3b9c972ba" providerId="ADAL" clId="{78A7489F-5177-4675-A072-D65159DC1369}" dt="2022-08-11T17:58:41.700" v="2407" actId="20577"/>
          <ac:spMkLst>
            <pc:docMk/>
            <pc:sldMk cId="3332792154" sldId="258"/>
            <ac:spMk id="3" creationId="{3A5A44EB-7FB9-473A-8ED3-C49DDD2E65AB}"/>
          </ac:spMkLst>
        </pc:spChg>
        <pc:picChg chg="add mod">
          <ac:chgData name="Thomas Stensitzki" userId="75cafe6b-2f2a-469b-85c4-eec3b9c972ba" providerId="ADAL" clId="{78A7489F-5177-4675-A072-D65159DC1369}" dt="2022-08-06T14:12:01.417" v="321" actId="1076"/>
          <ac:picMkLst>
            <pc:docMk/>
            <pc:sldMk cId="3332792154" sldId="258"/>
            <ac:picMk id="1026" creationId="{F7C90142-B1AA-1344-2DB1-054C9B2C6BC4}"/>
          </ac:picMkLst>
        </pc:picChg>
      </pc:sldChg>
      <pc:sldChg chg="modSp mod">
        <pc:chgData name="Thomas Stensitzki" userId="75cafe6b-2f2a-469b-85c4-eec3b9c972ba" providerId="ADAL" clId="{78A7489F-5177-4675-A072-D65159DC1369}" dt="2022-08-06T13:56:08.694" v="113" actId="20577"/>
        <pc:sldMkLst>
          <pc:docMk/>
          <pc:sldMk cId="2698998357" sldId="260"/>
        </pc:sldMkLst>
        <pc:spChg chg="mod">
          <ac:chgData name="Thomas Stensitzki" userId="75cafe6b-2f2a-469b-85c4-eec3b9c972ba" providerId="ADAL" clId="{78A7489F-5177-4675-A072-D65159DC1369}" dt="2022-08-06T13:55:45.564" v="99"/>
          <ac:spMkLst>
            <pc:docMk/>
            <pc:sldMk cId="2698998357" sldId="260"/>
            <ac:spMk id="4" creationId="{F3A15CBD-C746-44A3-A4F0-4898CE2F02E6}"/>
          </ac:spMkLst>
        </pc:spChg>
        <pc:spChg chg="mod">
          <ac:chgData name="Thomas Stensitzki" userId="75cafe6b-2f2a-469b-85c4-eec3b9c972ba" providerId="ADAL" clId="{78A7489F-5177-4675-A072-D65159DC1369}" dt="2022-08-06T13:56:08.694" v="113" actId="20577"/>
          <ac:spMkLst>
            <pc:docMk/>
            <pc:sldMk cId="2698998357" sldId="260"/>
            <ac:spMk id="5" creationId="{F3459BE7-1731-4733-A912-12977C68CFD6}"/>
          </ac:spMkLst>
        </pc:spChg>
      </pc:sldChg>
      <pc:sldChg chg="modSp mod">
        <pc:chgData name="Thomas Stensitzki" userId="75cafe6b-2f2a-469b-85c4-eec3b9c972ba" providerId="ADAL" clId="{78A7489F-5177-4675-A072-D65159DC1369}" dt="2022-08-06T13:56:27.654" v="118" actId="6549"/>
        <pc:sldMkLst>
          <pc:docMk/>
          <pc:sldMk cId="4007670073" sldId="268"/>
        </pc:sldMkLst>
        <pc:spChg chg="mod">
          <ac:chgData name="Thomas Stensitzki" userId="75cafe6b-2f2a-469b-85c4-eec3b9c972ba" providerId="ADAL" clId="{78A7489F-5177-4675-A072-D65159DC1369}" dt="2022-08-06T13:56:27.654" v="118" actId="6549"/>
          <ac:spMkLst>
            <pc:docMk/>
            <pc:sldMk cId="4007670073" sldId="268"/>
            <ac:spMk id="5" creationId="{F3459BE7-1731-4733-A912-12977C68CFD6}"/>
          </ac:spMkLst>
        </pc:spChg>
      </pc:sldChg>
      <pc:sldChg chg="modSp add del mod">
        <pc:chgData name="Thomas Stensitzki" userId="75cafe6b-2f2a-469b-85c4-eec3b9c972ba" providerId="ADAL" clId="{78A7489F-5177-4675-A072-D65159DC1369}" dt="2022-08-10T10:24:46.981" v="2174" actId="5793"/>
        <pc:sldMkLst>
          <pc:docMk/>
          <pc:sldMk cId="2721051844" sldId="269"/>
        </pc:sldMkLst>
        <pc:spChg chg="mod">
          <ac:chgData name="Thomas Stensitzki" userId="75cafe6b-2f2a-469b-85c4-eec3b9c972ba" providerId="ADAL" clId="{78A7489F-5177-4675-A072-D65159DC1369}" dt="2022-08-10T10:24:46.981" v="2174" actId="5793"/>
          <ac:spMkLst>
            <pc:docMk/>
            <pc:sldMk cId="2721051844" sldId="269"/>
            <ac:spMk id="4" creationId="{D12969B4-351A-4517-A5B8-3E6AD9CDB206}"/>
          </ac:spMkLst>
        </pc:spChg>
        <pc:spChg chg="mod">
          <ac:chgData name="Thomas Stensitzki" userId="75cafe6b-2f2a-469b-85c4-eec3b9c972ba" providerId="ADAL" clId="{78A7489F-5177-4675-A072-D65159DC1369}" dt="2022-08-09T17:49:52.066" v="1632" actId="20577"/>
          <ac:spMkLst>
            <pc:docMk/>
            <pc:sldMk cId="2721051844" sldId="269"/>
            <ac:spMk id="5" creationId="{C24DACB5-1BEC-4C86-9652-BAFD8DE56FEF}"/>
          </ac:spMkLst>
        </pc:spChg>
      </pc:sldChg>
      <pc:sldChg chg="modSp mod">
        <pc:chgData name="Thomas Stensitzki" userId="75cafe6b-2f2a-469b-85c4-eec3b9c972ba" providerId="ADAL" clId="{78A7489F-5177-4675-A072-D65159DC1369}" dt="2022-08-10T10:18:15.441" v="2029" actId="14100"/>
        <pc:sldMkLst>
          <pc:docMk/>
          <pc:sldMk cId="2227487991" sldId="378"/>
        </pc:sldMkLst>
        <pc:spChg chg="mod">
          <ac:chgData name="Thomas Stensitzki" userId="75cafe6b-2f2a-469b-85c4-eec3b9c972ba" providerId="ADAL" clId="{78A7489F-5177-4675-A072-D65159DC1369}" dt="2022-08-10T10:18:15.441" v="2029" actId="14100"/>
          <ac:spMkLst>
            <pc:docMk/>
            <pc:sldMk cId="2227487991" sldId="378"/>
            <ac:spMk id="2" creationId="{909DC09D-B9A6-4493-9A72-1CA7ECB1F5CA}"/>
          </ac:spMkLst>
        </pc:spChg>
        <pc:spChg chg="mod">
          <ac:chgData name="Thomas Stensitzki" userId="75cafe6b-2f2a-469b-85c4-eec3b9c972ba" providerId="ADAL" clId="{78A7489F-5177-4675-A072-D65159DC1369}" dt="2022-08-10T10:17:17.322" v="2021" actId="14100"/>
          <ac:spMkLst>
            <pc:docMk/>
            <pc:sldMk cId="2227487991" sldId="378"/>
            <ac:spMk id="5" creationId="{C24DACB5-1BEC-4C86-9652-BAFD8DE56FEF}"/>
          </ac:spMkLst>
        </pc:spChg>
      </pc:sldChg>
      <pc:sldChg chg="add del">
        <pc:chgData name="Thomas Stensitzki" userId="75cafe6b-2f2a-469b-85c4-eec3b9c972ba" providerId="ADAL" clId="{78A7489F-5177-4675-A072-D65159DC1369}" dt="2022-08-06T13:56:56.205" v="121" actId="47"/>
        <pc:sldMkLst>
          <pc:docMk/>
          <pc:sldMk cId="2395924320" sldId="514"/>
        </pc:sldMkLst>
      </pc:sldChg>
      <pc:sldChg chg="modSp mod">
        <pc:chgData name="Thomas Stensitzki" userId="75cafe6b-2f2a-469b-85c4-eec3b9c972ba" providerId="ADAL" clId="{78A7489F-5177-4675-A072-D65159DC1369}" dt="2022-08-10T10:17:52.177" v="2027" actId="255"/>
        <pc:sldMkLst>
          <pc:docMk/>
          <pc:sldMk cId="3797754622" sldId="515"/>
        </pc:sldMkLst>
        <pc:spChg chg="mod">
          <ac:chgData name="Thomas Stensitzki" userId="75cafe6b-2f2a-469b-85c4-eec3b9c972ba" providerId="ADAL" clId="{78A7489F-5177-4675-A072-D65159DC1369}" dt="2022-08-10T10:17:52.177" v="2027" actId="255"/>
          <ac:spMkLst>
            <pc:docMk/>
            <pc:sldMk cId="3797754622" sldId="515"/>
            <ac:spMk id="5" creationId="{C24DACB5-1BEC-4C86-9652-BAFD8DE56FEF}"/>
          </ac:spMkLst>
        </pc:spChg>
      </pc:sldChg>
      <pc:sldChg chg="addSp modSp modAnim">
        <pc:chgData name="Thomas Stensitzki" userId="75cafe6b-2f2a-469b-85c4-eec3b9c972ba" providerId="ADAL" clId="{78A7489F-5177-4675-A072-D65159DC1369}" dt="2022-08-06T14:13:28.848" v="407" actId="1076"/>
        <pc:sldMkLst>
          <pc:docMk/>
          <pc:sldMk cId="2791634409" sldId="560"/>
        </pc:sldMkLst>
        <pc:spChg chg="mod">
          <ac:chgData name="Thomas Stensitzki" userId="75cafe6b-2f2a-469b-85c4-eec3b9c972ba" providerId="ADAL" clId="{78A7489F-5177-4675-A072-D65159DC1369}" dt="2022-08-06T14:12:43.790" v="404" actId="20577"/>
          <ac:spMkLst>
            <pc:docMk/>
            <pc:sldMk cId="2791634409" sldId="560"/>
            <ac:spMk id="5" creationId="{E4B561B6-C0CF-43D8-8BC7-F305B96C47C8}"/>
          </ac:spMkLst>
        </pc:spChg>
        <pc:picChg chg="add mod">
          <ac:chgData name="Thomas Stensitzki" userId="75cafe6b-2f2a-469b-85c4-eec3b9c972ba" providerId="ADAL" clId="{78A7489F-5177-4675-A072-D65159DC1369}" dt="2022-08-06T14:13:28.848" v="407" actId="1076"/>
          <ac:picMkLst>
            <pc:docMk/>
            <pc:sldMk cId="2791634409" sldId="560"/>
            <ac:picMk id="2050" creationId="{DE9DABCD-CA25-2C8D-141D-F825F843D221}"/>
          </ac:picMkLst>
        </pc:picChg>
      </pc:sldChg>
      <pc:sldChg chg="modSp mod">
        <pc:chgData name="Thomas Stensitzki" userId="75cafe6b-2f2a-469b-85c4-eec3b9c972ba" providerId="ADAL" clId="{78A7489F-5177-4675-A072-D65159DC1369}" dt="2022-08-10T10:27:52.206" v="2393" actId="20577"/>
        <pc:sldMkLst>
          <pc:docMk/>
          <pc:sldMk cId="1728515471" sldId="561"/>
        </pc:sldMkLst>
        <pc:graphicFrameChg chg="modGraphic">
          <ac:chgData name="Thomas Stensitzki" userId="75cafe6b-2f2a-469b-85c4-eec3b9c972ba" providerId="ADAL" clId="{78A7489F-5177-4675-A072-D65159DC1369}" dt="2022-08-10T10:27:52.206" v="2393" actId="20577"/>
          <ac:graphicFrameMkLst>
            <pc:docMk/>
            <pc:sldMk cId="1728515471" sldId="561"/>
            <ac:graphicFrameMk id="4" creationId="{55EDB790-67BC-42E5-B64A-5647620B8383}"/>
          </ac:graphicFrameMkLst>
        </pc:graphicFrameChg>
      </pc:sldChg>
      <pc:sldChg chg="addSp delSp modSp add del mod modAnim">
        <pc:chgData name="Thomas Stensitzki" userId="75cafe6b-2f2a-469b-85c4-eec3b9c972ba" providerId="ADAL" clId="{78A7489F-5177-4675-A072-D65159DC1369}" dt="2022-08-10T10:19:57.846" v="2055" actId="1440"/>
        <pc:sldMkLst>
          <pc:docMk/>
          <pc:sldMk cId="4104137776" sldId="567"/>
        </pc:sldMkLst>
        <pc:spChg chg="mod">
          <ac:chgData name="Thomas Stensitzki" userId="75cafe6b-2f2a-469b-85c4-eec3b9c972ba" providerId="ADAL" clId="{78A7489F-5177-4675-A072-D65159DC1369}" dt="2022-08-09T16:55:34.108" v="905"/>
          <ac:spMkLst>
            <pc:docMk/>
            <pc:sldMk cId="4104137776" sldId="567"/>
            <ac:spMk id="2" creationId="{EC46AD28-746E-4246-884F-4DAE24C62042}"/>
          </ac:spMkLst>
        </pc:spChg>
        <pc:picChg chg="add mod">
          <ac:chgData name="Thomas Stensitzki" userId="75cafe6b-2f2a-469b-85c4-eec3b9c972ba" providerId="ADAL" clId="{78A7489F-5177-4675-A072-D65159DC1369}" dt="2022-08-10T10:19:57.846" v="2055" actId="1440"/>
          <ac:picMkLst>
            <pc:docMk/>
            <pc:sldMk cId="4104137776" sldId="567"/>
            <ac:picMk id="1026" creationId="{B7F8F498-4FFF-EDA5-087D-1D4F52FA50CA}"/>
          </ac:picMkLst>
        </pc:picChg>
        <pc:picChg chg="add del mod">
          <ac:chgData name="Thomas Stensitzki" userId="75cafe6b-2f2a-469b-85c4-eec3b9c972ba" providerId="ADAL" clId="{78A7489F-5177-4675-A072-D65159DC1369}" dt="2022-08-09T16:56:24.126" v="919" actId="478"/>
          <ac:picMkLst>
            <pc:docMk/>
            <pc:sldMk cId="4104137776" sldId="567"/>
            <ac:picMk id="1028" creationId="{8B3653FD-FA04-3132-3198-3B31F53517E9}"/>
          </ac:picMkLst>
        </pc:picChg>
        <pc:picChg chg="del">
          <ac:chgData name="Thomas Stensitzki" userId="75cafe6b-2f2a-469b-85c4-eec3b9c972ba" providerId="ADAL" clId="{78A7489F-5177-4675-A072-D65159DC1369}" dt="2022-08-09T16:55:38.365" v="907" actId="478"/>
          <ac:picMkLst>
            <pc:docMk/>
            <pc:sldMk cId="4104137776" sldId="567"/>
            <ac:picMk id="6146" creationId="{BEB228D0-D6CB-482E-981C-8BBE1B427912}"/>
          </ac:picMkLst>
        </pc:picChg>
        <pc:picChg chg="del">
          <ac:chgData name="Thomas Stensitzki" userId="75cafe6b-2f2a-469b-85c4-eec3b9c972ba" providerId="ADAL" clId="{78A7489F-5177-4675-A072-D65159DC1369}" dt="2022-08-09T16:55:37.936" v="906" actId="478"/>
          <ac:picMkLst>
            <pc:docMk/>
            <pc:sldMk cId="4104137776" sldId="567"/>
            <ac:picMk id="6148" creationId="{C73D027B-CA10-4632-9BCD-2A04C1CA1660}"/>
          </ac:picMkLst>
        </pc:picChg>
      </pc:sldChg>
      <pc:sldChg chg="del">
        <pc:chgData name="Thomas Stensitzki" userId="75cafe6b-2f2a-469b-85c4-eec3b9c972ba" providerId="ADAL" clId="{78A7489F-5177-4675-A072-D65159DC1369}" dt="2022-08-06T13:56:19.231" v="114" actId="47"/>
        <pc:sldMkLst>
          <pc:docMk/>
          <pc:sldMk cId="2374589673" sldId="568"/>
        </pc:sldMkLst>
      </pc:sldChg>
      <pc:sldChg chg="mod modShow">
        <pc:chgData name="Thomas Stensitzki" userId="75cafe6b-2f2a-469b-85c4-eec3b9c972ba" providerId="ADAL" clId="{78A7489F-5177-4675-A072-D65159DC1369}" dt="2022-08-06T14:14:08.123" v="410" actId="729"/>
        <pc:sldMkLst>
          <pc:docMk/>
          <pc:sldMk cId="1051205786" sldId="607"/>
        </pc:sldMkLst>
      </pc:sldChg>
      <pc:sldChg chg="del">
        <pc:chgData name="Thomas Stensitzki" userId="75cafe6b-2f2a-469b-85c4-eec3b9c972ba" providerId="ADAL" clId="{78A7489F-5177-4675-A072-D65159DC1369}" dt="2022-08-06T13:56:19.231" v="114" actId="47"/>
        <pc:sldMkLst>
          <pc:docMk/>
          <pc:sldMk cId="1133784921" sldId="608"/>
        </pc:sldMkLst>
      </pc:sldChg>
      <pc:sldChg chg="del">
        <pc:chgData name="Thomas Stensitzki" userId="75cafe6b-2f2a-469b-85c4-eec3b9c972ba" providerId="ADAL" clId="{78A7489F-5177-4675-A072-D65159DC1369}" dt="2022-08-06T13:56:19.231" v="114" actId="47"/>
        <pc:sldMkLst>
          <pc:docMk/>
          <pc:sldMk cId="194201490" sldId="609"/>
        </pc:sldMkLst>
      </pc:sldChg>
      <pc:sldChg chg="del">
        <pc:chgData name="Thomas Stensitzki" userId="75cafe6b-2f2a-469b-85c4-eec3b9c972ba" providerId="ADAL" clId="{78A7489F-5177-4675-A072-D65159DC1369}" dt="2022-08-06T13:56:19.231" v="114" actId="47"/>
        <pc:sldMkLst>
          <pc:docMk/>
          <pc:sldMk cId="467678945" sldId="610"/>
        </pc:sldMkLst>
      </pc:sldChg>
      <pc:sldChg chg="del">
        <pc:chgData name="Thomas Stensitzki" userId="75cafe6b-2f2a-469b-85c4-eec3b9c972ba" providerId="ADAL" clId="{78A7489F-5177-4675-A072-D65159DC1369}" dt="2022-08-06T13:56:19.231" v="114" actId="47"/>
        <pc:sldMkLst>
          <pc:docMk/>
          <pc:sldMk cId="2119466313" sldId="611"/>
        </pc:sldMkLst>
      </pc:sldChg>
      <pc:sldChg chg="del">
        <pc:chgData name="Thomas Stensitzki" userId="75cafe6b-2f2a-469b-85c4-eec3b9c972ba" providerId="ADAL" clId="{78A7489F-5177-4675-A072-D65159DC1369}" dt="2022-08-06T13:56:19.231" v="114" actId="47"/>
        <pc:sldMkLst>
          <pc:docMk/>
          <pc:sldMk cId="3453821184" sldId="612"/>
        </pc:sldMkLst>
      </pc:sldChg>
      <pc:sldChg chg="del">
        <pc:chgData name="Thomas Stensitzki" userId="75cafe6b-2f2a-469b-85c4-eec3b9c972ba" providerId="ADAL" clId="{78A7489F-5177-4675-A072-D65159DC1369}" dt="2022-08-06T13:56:19.231" v="114" actId="47"/>
        <pc:sldMkLst>
          <pc:docMk/>
          <pc:sldMk cId="1137647844" sldId="613"/>
        </pc:sldMkLst>
      </pc:sldChg>
      <pc:sldChg chg="del">
        <pc:chgData name="Thomas Stensitzki" userId="75cafe6b-2f2a-469b-85c4-eec3b9c972ba" providerId="ADAL" clId="{78A7489F-5177-4675-A072-D65159DC1369}" dt="2022-08-06T13:56:19.231" v="114" actId="47"/>
        <pc:sldMkLst>
          <pc:docMk/>
          <pc:sldMk cId="1503137777" sldId="614"/>
        </pc:sldMkLst>
      </pc:sldChg>
      <pc:sldChg chg="addSp delSp modSp mod delAnim modAnim">
        <pc:chgData name="Thomas Stensitzki" userId="75cafe6b-2f2a-469b-85c4-eec3b9c972ba" providerId="ADAL" clId="{78A7489F-5177-4675-A072-D65159DC1369}" dt="2022-08-10T10:29:28.155" v="2396"/>
        <pc:sldMkLst>
          <pc:docMk/>
          <pc:sldMk cId="1055936327" sldId="615"/>
        </pc:sldMkLst>
        <pc:spChg chg="mod">
          <ac:chgData name="Thomas Stensitzki" userId="75cafe6b-2f2a-469b-85c4-eec3b9c972ba" providerId="ADAL" clId="{78A7489F-5177-4675-A072-D65159DC1369}" dt="2022-08-09T16:58:55.097" v="946"/>
          <ac:spMkLst>
            <pc:docMk/>
            <pc:sldMk cId="1055936327" sldId="615"/>
            <ac:spMk id="2" creationId="{8F0EE741-1AA9-4E98-9676-69EE83AA3E40}"/>
          </ac:spMkLst>
        </pc:spChg>
        <pc:spChg chg="del">
          <ac:chgData name="Thomas Stensitzki" userId="75cafe6b-2f2a-469b-85c4-eec3b9c972ba" providerId="ADAL" clId="{78A7489F-5177-4675-A072-D65159DC1369}" dt="2022-08-09T16:59:11.281" v="951" actId="478"/>
          <ac:spMkLst>
            <pc:docMk/>
            <pc:sldMk cId="1055936327" sldId="615"/>
            <ac:spMk id="3" creationId="{AB3DB976-C90F-4091-87CF-40163DF71AFA}"/>
          </ac:spMkLst>
        </pc:spChg>
        <pc:picChg chg="add mod">
          <ac:chgData name="Thomas Stensitzki" userId="75cafe6b-2f2a-469b-85c4-eec3b9c972ba" providerId="ADAL" clId="{78A7489F-5177-4675-A072-D65159DC1369}" dt="2022-08-10T10:19:18.529" v="2042" actId="1440"/>
          <ac:picMkLst>
            <pc:docMk/>
            <pc:sldMk cId="1055936327" sldId="615"/>
            <ac:picMk id="4" creationId="{DB26A891-FEB9-BE0E-582C-D71E578CD6EE}"/>
          </ac:picMkLst>
        </pc:picChg>
        <pc:picChg chg="del">
          <ac:chgData name="Thomas Stensitzki" userId="75cafe6b-2f2a-469b-85c4-eec3b9c972ba" providerId="ADAL" clId="{78A7489F-5177-4675-A072-D65159DC1369}" dt="2022-08-09T16:59:00.574" v="950" actId="478"/>
          <ac:picMkLst>
            <pc:docMk/>
            <pc:sldMk cId="1055936327" sldId="615"/>
            <ac:picMk id="1026" creationId="{7B51AD3F-B2C5-40C2-A1B0-148EC98E9697}"/>
          </ac:picMkLst>
        </pc:picChg>
        <pc:picChg chg="del">
          <ac:chgData name="Thomas Stensitzki" userId="75cafe6b-2f2a-469b-85c4-eec3b9c972ba" providerId="ADAL" clId="{78A7489F-5177-4675-A072-D65159DC1369}" dt="2022-08-09T16:59:00.092" v="949" actId="478"/>
          <ac:picMkLst>
            <pc:docMk/>
            <pc:sldMk cId="1055936327" sldId="615"/>
            <ac:picMk id="1028" creationId="{CE471663-B43B-4113-A916-DCC9088EAFED}"/>
          </ac:picMkLst>
        </pc:picChg>
        <pc:picChg chg="del">
          <ac:chgData name="Thomas Stensitzki" userId="75cafe6b-2f2a-469b-85c4-eec3b9c972ba" providerId="ADAL" clId="{78A7489F-5177-4675-A072-D65159DC1369}" dt="2022-08-09T16:58:58.985" v="947" actId="478"/>
          <ac:picMkLst>
            <pc:docMk/>
            <pc:sldMk cId="1055936327" sldId="615"/>
            <ac:picMk id="1030" creationId="{55623FF3-B572-4046-968C-52BEC1710B74}"/>
          </ac:picMkLst>
        </pc:picChg>
        <pc:picChg chg="del">
          <ac:chgData name="Thomas Stensitzki" userId="75cafe6b-2f2a-469b-85c4-eec3b9c972ba" providerId="ADAL" clId="{78A7489F-5177-4675-A072-D65159DC1369}" dt="2022-08-09T16:58:59.592" v="948" actId="478"/>
          <ac:picMkLst>
            <pc:docMk/>
            <pc:sldMk cId="1055936327" sldId="615"/>
            <ac:picMk id="1032" creationId="{A2A89887-1B80-4358-8DAF-1FE056BD8360}"/>
          </ac:picMkLst>
        </pc:picChg>
        <pc:picChg chg="add mod">
          <ac:chgData name="Thomas Stensitzki" userId="75cafe6b-2f2a-469b-85c4-eec3b9c972ba" providerId="ADAL" clId="{78A7489F-5177-4675-A072-D65159DC1369}" dt="2022-08-10T10:19:17.785" v="2041" actId="1440"/>
          <ac:picMkLst>
            <pc:docMk/>
            <pc:sldMk cId="1055936327" sldId="615"/>
            <ac:picMk id="4098" creationId="{44675D0D-E278-C3F3-AE57-0D44ADAD592E}"/>
          </ac:picMkLst>
        </pc:picChg>
        <pc:picChg chg="add mod">
          <ac:chgData name="Thomas Stensitzki" userId="75cafe6b-2f2a-469b-85c4-eec3b9c972ba" providerId="ADAL" clId="{78A7489F-5177-4675-A072-D65159DC1369}" dt="2022-08-10T10:19:16.810" v="2040" actId="1440"/>
          <ac:picMkLst>
            <pc:docMk/>
            <pc:sldMk cId="1055936327" sldId="615"/>
            <ac:picMk id="4100" creationId="{D0F09251-F2C4-882E-D250-6D9DD7DBD352}"/>
          </ac:picMkLst>
        </pc:picChg>
        <pc:picChg chg="add del mod">
          <ac:chgData name="Thomas Stensitzki" userId="75cafe6b-2f2a-469b-85c4-eec3b9c972ba" providerId="ADAL" clId="{78A7489F-5177-4675-A072-D65159DC1369}" dt="2022-08-09T17:02:42.290" v="981" actId="478"/>
          <ac:picMkLst>
            <pc:docMk/>
            <pc:sldMk cId="1055936327" sldId="615"/>
            <ac:picMk id="4102" creationId="{F0CDA692-00C1-65A2-667C-990CF73E4691}"/>
          </ac:picMkLst>
        </pc:picChg>
      </pc:sldChg>
      <pc:sldChg chg="del">
        <pc:chgData name="Thomas Stensitzki" userId="75cafe6b-2f2a-469b-85c4-eec3b9c972ba" providerId="ADAL" clId="{78A7489F-5177-4675-A072-D65159DC1369}" dt="2022-08-06T13:56:41.651" v="119" actId="47"/>
        <pc:sldMkLst>
          <pc:docMk/>
          <pc:sldMk cId="3478201021" sldId="616"/>
        </pc:sldMkLst>
      </pc:sldChg>
      <pc:sldChg chg="addSp delSp modSp new mod modClrScheme chgLayout">
        <pc:chgData name="Thomas Stensitzki" userId="75cafe6b-2f2a-469b-85c4-eec3b9c972ba" providerId="ADAL" clId="{78A7489F-5177-4675-A072-D65159DC1369}" dt="2022-08-07T16:38:03.051" v="901" actId="20577"/>
        <pc:sldMkLst>
          <pc:docMk/>
          <pc:sldMk cId="4105418081" sldId="616"/>
        </pc:sldMkLst>
        <pc:spChg chg="del mod ord">
          <ac:chgData name="Thomas Stensitzki" userId="75cafe6b-2f2a-469b-85c4-eec3b9c972ba" providerId="ADAL" clId="{78A7489F-5177-4675-A072-D65159DC1369}" dt="2022-08-06T14:13:54.592" v="409" actId="700"/>
          <ac:spMkLst>
            <pc:docMk/>
            <pc:sldMk cId="4105418081" sldId="616"/>
            <ac:spMk id="2" creationId="{B61306F2-F960-0AD9-310A-D814F6C403DC}"/>
          </ac:spMkLst>
        </pc:spChg>
        <pc:spChg chg="del mod ord">
          <ac:chgData name="Thomas Stensitzki" userId="75cafe6b-2f2a-469b-85c4-eec3b9c972ba" providerId="ADAL" clId="{78A7489F-5177-4675-A072-D65159DC1369}" dt="2022-08-06T14:13:54.592" v="409" actId="700"/>
          <ac:spMkLst>
            <pc:docMk/>
            <pc:sldMk cId="4105418081" sldId="616"/>
            <ac:spMk id="3" creationId="{2A094938-089E-EAA0-FB2D-0584EAF0FF8D}"/>
          </ac:spMkLst>
        </pc:spChg>
        <pc:spChg chg="add mod ord">
          <ac:chgData name="Thomas Stensitzki" userId="75cafe6b-2f2a-469b-85c4-eec3b9c972ba" providerId="ADAL" clId="{78A7489F-5177-4675-A072-D65159DC1369}" dt="2022-08-06T14:14:54.303" v="420" actId="20577"/>
          <ac:spMkLst>
            <pc:docMk/>
            <pc:sldMk cId="4105418081" sldId="616"/>
            <ac:spMk id="4" creationId="{0912CB56-E941-CC99-5A75-B3A4D6CF9E26}"/>
          </ac:spMkLst>
        </pc:spChg>
        <pc:spChg chg="add mod ord">
          <ac:chgData name="Thomas Stensitzki" userId="75cafe6b-2f2a-469b-85c4-eec3b9c972ba" providerId="ADAL" clId="{78A7489F-5177-4675-A072-D65159DC1369}" dt="2022-08-07T16:38:03.051" v="901" actId="20577"/>
          <ac:spMkLst>
            <pc:docMk/>
            <pc:sldMk cId="4105418081" sldId="616"/>
            <ac:spMk id="5" creationId="{BB4C8E7C-FA68-627B-2855-70693371E570}"/>
          </ac:spMkLst>
        </pc:spChg>
      </pc:sldChg>
      <pc:sldChg chg="modSp add del mod ord">
        <pc:chgData name="Thomas Stensitzki" userId="75cafe6b-2f2a-469b-85c4-eec3b9c972ba" providerId="ADAL" clId="{78A7489F-5177-4675-A072-D65159DC1369}" dt="2022-08-10T10:16:24.549" v="2009" actId="5793"/>
        <pc:sldMkLst>
          <pc:docMk/>
          <pc:sldMk cId="2500841606" sldId="617"/>
        </pc:sldMkLst>
        <pc:spChg chg="mod">
          <ac:chgData name="Thomas Stensitzki" userId="75cafe6b-2f2a-469b-85c4-eec3b9c972ba" providerId="ADAL" clId="{78A7489F-5177-4675-A072-D65159DC1369}" dt="2022-08-06T14:19:55.327" v="484" actId="20577"/>
          <ac:spMkLst>
            <pc:docMk/>
            <pc:sldMk cId="2500841606" sldId="617"/>
            <ac:spMk id="4" creationId="{0912CB56-E941-CC99-5A75-B3A4D6CF9E26}"/>
          </ac:spMkLst>
        </pc:spChg>
        <pc:spChg chg="mod">
          <ac:chgData name="Thomas Stensitzki" userId="75cafe6b-2f2a-469b-85c4-eec3b9c972ba" providerId="ADAL" clId="{78A7489F-5177-4675-A072-D65159DC1369}" dt="2022-08-10T10:16:24.549" v="2009" actId="5793"/>
          <ac:spMkLst>
            <pc:docMk/>
            <pc:sldMk cId="2500841606" sldId="617"/>
            <ac:spMk id="5" creationId="{BB4C8E7C-FA68-627B-2855-70693371E570}"/>
          </ac:spMkLst>
        </pc:spChg>
      </pc:sldChg>
      <pc:sldChg chg="del">
        <pc:chgData name="Thomas Stensitzki" userId="75cafe6b-2f2a-469b-85c4-eec3b9c972ba" providerId="ADAL" clId="{78A7489F-5177-4675-A072-D65159DC1369}" dt="2022-08-06T13:56:41.651" v="119" actId="47"/>
        <pc:sldMkLst>
          <pc:docMk/>
          <pc:sldMk cId="3437431207" sldId="617"/>
        </pc:sldMkLst>
      </pc:sldChg>
      <pc:sldChg chg="del">
        <pc:chgData name="Thomas Stensitzki" userId="75cafe6b-2f2a-469b-85c4-eec3b9c972ba" providerId="ADAL" clId="{78A7489F-5177-4675-A072-D65159DC1369}" dt="2022-08-06T13:56:41.651" v="119" actId="47"/>
        <pc:sldMkLst>
          <pc:docMk/>
          <pc:sldMk cId="891073797" sldId="618"/>
        </pc:sldMkLst>
      </pc:sldChg>
      <pc:sldChg chg="addSp modSp add mod">
        <pc:chgData name="Thomas Stensitzki" userId="75cafe6b-2f2a-469b-85c4-eec3b9c972ba" providerId="ADAL" clId="{78A7489F-5177-4675-A072-D65159DC1369}" dt="2022-08-07T16:28:58.860" v="878" actId="6549"/>
        <pc:sldMkLst>
          <pc:docMk/>
          <pc:sldMk cId="1322085727" sldId="618"/>
        </pc:sldMkLst>
        <pc:spChg chg="mod">
          <ac:chgData name="Thomas Stensitzki" userId="75cafe6b-2f2a-469b-85c4-eec3b9c972ba" providerId="ADAL" clId="{78A7489F-5177-4675-A072-D65159DC1369}" dt="2022-08-07T16:28:58.860" v="878" actId="6549"/>
          <ac:spMkLst>
            <pc:docMk/>
            <pc:sldMk cId="1322085727" sldId="618"/>
            <ac:spMk id="4" creationId="{0912CB56-E941-CC99-5A75-B3A4D6CF9E26}"/>
          </ac:spMkLst>
        </pc:spChg>
        <pc:spChg chg="mod">
          <ac:chgData name="Thomas Stensitzki" userId="75cafe6b-2f2a-469b-85c4-eec3b9c972ba" providerId="ADAL" clId="{78A7489F-5177-4675-A072-D65159DC1369}" dt="2022-08-06T14:32:51.136" v="747" actId="20577"/>
          <ac:spMkLst>
            <pc:docMk/>
            <pc:sldMk cId="1322085727" sldId="618"/>
            <ac:spMk id="5" creationId="{BB4C8E7C-FA68-627B-2855-70693371E570}"/>
          </ac:spMkLst>
        </pc:spChg>
        <pc:picChg chg="add mod">
          <ac:chgData name="Thomas Stensitzki" userId="75cafe6b-2f2a-469b-85c4-eec3b9c972ba" providerId="ADAL" clId="{78A7489F-5177-4675-A072-D65159DC1369}" dt="2022-08-06T14:34:42.177" v="786" actId="1440"/>
          <ac:picMkLst>
            <pc:docMk/>
            <pc:sldMk cId="1322085727" sldId="618"/>
            <ac:picMk id="3" creationId="{D5E66226-CE04-BF59-BC78-96F8499B263F}"/>
          </ac:picMkLst>
        </pc:picChg>
      </pc:sldChg>
      <pc:sldChg chg="addSp delSp modSp add mod">
        <pc:chgData name="Thomas Stensitzki" userId="75cafe6b-2f2a-469b-85c4-eec3b9c972ba" providerId="ADAL" clId="{78A7489F-5177-4675-A072-D65159DC1369}" dt="2022-08-07T16:28:55.065" v="877" actId="6549"/>
        <pc:sldMkLst>
          <pc:docMk/>
          <pc:sldMk cId="198888969" sldId="619"/>
        </pc:sldMkLst>
        <pc:spChg chg="mod">
          <ac:chgData name="Thomas Stensitzki" userId="75cafe6b-2f2a-469b-85c4-eec3b9c972ba" providerId="ADAL" clId="{78A7489F-5177-4675-A072-D65159DC1369}" dt="2022-08-07T16:28:55.065" v="877" actId="6549"/>
          <ac:spMkLst>
            <pc:docMk/>
            <pc:sldMk cId="198888969" sldId="619"/>
            <ac:spMk id="4" creationId="{0912CB56-E941-CC99-5A75-B3A4D6CF9E26}"/>
          </ac:spMkLst>
        </pc:spChg>
        <pc:spChg chg="mod">
          <ac:chgData name="Thomas Stensitzki" userId="75cafe6b-2f2a-469b-85c4-eec3b9c972ba" providerId="ADAL" clId="{78A7489F-5177-4675-A072-D65159DC1369}" dt="2022-08-06T14:33:11.673" v="780" actId="20577"/>
          <ac:spMkLst>
            <pc:docMk/>
            <pc:sldMk cId="198888969" sldId="619"/>
            <ac:spMk id="5" creationId="{BB4C8E7C-FA68-627B-2855-70693371E570}"/>
          </ac:spMkLst>
        </pc:spChg>
        <pc:picChg chg="del">
          <ac:chgData name="Thomas Stensitzki" userId="75cafe6b-2f2a-469b-85c4-eec3b9c972ba" providerId="ADAL" clId="{78A7489F-5177-4675-A072-D65159DC1369}" dt="2022-08-06T14:34:19.711" v="781" actId="478"/>
          <ac:picMkLst>
            <pc:docMk/>
            <pc:sldMk cId="198888969" sldId="619"/>
            <ac:picMk id="3" creationId="{D5E66226-CE04-BF59-BC78-96F8499B263F}"/>
          </ac:picMkLst>
        </pc:picChg>
        <pc:picChg chg="add mod">
          <ac:chgData name="Thomas Stensitzki" userId="75cafe6b-2f2a-469b-85c4-eec3b9c972ba" providerId="ADAL" clId="{78A7489F-5177-4675-A072-D65159DC1369}" dt="2022-08-06T14:34:39.108" v="785" actId="1440"/>
          <ac:picMkLst>
            <pc:docMk/>
            <pc:sldMk cId="198888969" sldId="619"/>
            <ac:picMk id="6" creationId="{BF544F03-8F48-B948-CBBE-0EE66501BD65}"/>
          </ac:picMkLst>
        </pc:picChg>
      </pc:sldChg>
      <pc:sldChg chg="add del">
        <pc:chgData name="Thomas Stensitzki" userId="75cafe6b-2f2a-469b-85c4-eec3b9c972ba" providerId="ADAL" clId="{78A7489F-5177-4675-A072-D65159DC1369}" dt="2022-08-06T14:32:56.429" v="748" actId="47"/>
        <pc:sldMkLst>
          <pc:docMk/>
          <pc:sldMk cId="1767873629" sldId="619"/>
        </pc:sldMkLst>
      </pc:sldChg>
      <pc:sldChg chg="del">
        <pc:chgData name="Thomas Stensitzki" userId="75cafe6b-2f2a-469b-85c4-eec3b9c972ba" providerId="ADAL" clId="{78A7489F-5177-4675-A072-D65159DC1369}" dt="2022-08-06T13:56:41.651" v="119" actId="47"/>
        <pc:sldMkLst>
          <pc:docMk/>
          <pc:sldMk cId="2883104128" sldId="619"/>
        </pc:sldMkLst>
      </pc:sldChg>
      <pc:sldChg chg="del">
        <pc:chgData name="Thomas Stensitzki" userId="75cafe6b-2f2a-469b-85c4-eec3b9c972ba" providerId="ADAL" clId="{78A7489F-5177-4675-A072-D65159DC1369}" dt="2022-08-06T13:56:41.651" v="119" actId="47"/>
        <pc:sldMkLst>
          <pc:docMk/>
          <pc:sldMk cId="1449374427" sldId="620"/>
        </pc:sldMkLst>
      </pc:sldChg>
      <pc:sldChg chg="addSp delSp modSp add mod">
        <pc:chgData name="Thomas Stensitzki" userId="75cafe6b-2f2a-469b-85c4-eec3b9c972ba" providerId="ADAL" clId="{78A7489F-5177-4675-A072-D65159DC1369}" dt="2022-08-07T16:31:42.476" v="883" actId="1440"/>
        <pc:sldMkLst>
          <pc:docMk/>
          <pc:sldMk cId="3201512428" sldId="620"/>
        </pc:sldMkLst>
        <pc:spChg chg="mod">
          <ac:chgData name="Thomas Stensitzki" userId="75cafe6b-2f2a-469b-85c4-eec3b9c972ba" providerId="ADAL" clId="{78A7489F-5177-4675-A072-D65159DC1369}" dt="2022-08-07T16:31:35.736" v="882" actId="20577"/>
          <ac:spMkLst>
            <pc:docMk/>
            <pc:sldMk cId="3201512428" sldId="620"/>
            <ac:spMk id="5" creationId="{BB4C8E7C-FA68-627B-2855-70693371E570}"/>
          </ac:spMkLst>
        </pc:spChg>
        <pc:picChg chg="add mod">
          <ac:chgData name="Thomas Stensitzki" userId="75cafe6b-2f2a-469b-85c4-eec3b9c972ba" providerId="ADAL" clId="{78A7489F-5177-4675-A072-D65159DC1369}" dt="2022-08-07T16:31:42.476" v="883" actId="1440"/>
          <ac:picMkLst>
            <pc:docMk/>
            <pc:sldMk cId="3201512428" sldId="620"/>
            <ac:picMk id="3" creationId="{7C3CD6DE-6A8E-3B3D-390B-25037CF2B7F9}"/>
          </ac:picMkLst>
        </pc:picChg>
        <pc:picChg chg="del">
          <ac:chgData name="Thomas Stensitzki" userId="75cafe6b-2f2a-469b-85c4-eec3b9c972ba" providerId="ADAL" clId="{78A7489F-5177-4675-A072-D65159DC1369}" dt="2022-08-06T14:34:50.944" v="788" actId="478"/>
          <ac:picMkLst>
            <pc:docMk/>
            <pc:sldMk cId="3201512428" sldId="620"/>
            <ac:picMk id="6" creationId="{BF544F03-8F48-B948-CBBE-0EE66501BD65}"/>
          </ac:picMkLst>
        </pc:picChg>
      </pc:sldChg>
      <pc:sldChg chg="addSp delSp modSp add mod">
        <pc:chgData name="Thomas Stensitzki" userId="75cafe6b-2f2a-469b-85c4-eec3b9c972ba" providerId="ADAL" clId="{78A7489F-5177-4675-A072-D65159DC1369}" dt="2022-08-07T16:33:09.346" v="898" actId="1440"/>
        <pc:sldMkLst>
          <pc:docMk/>
          <pc:sldMk cId="495201301" sldId="621"/>
        </pc:sldMkLst>
        <pc:picChg chg="del">
          <ac:chgData name="Thomas Stensitzki" userId="75cafe6b-2f2a-469b-85c4-eec3b9c972ba" providerId="ADAL" clId="{78A7489F-5177-4675-A072-D65159DC1369}" dt="2022-08-07T16:33:00.361" v="889" actId="478"/>
          <ac:picMkLst>
            <pc:docMk/>
            <pc:sldMk cId="495201301" sldId="621"/>
            <ac:picMk id="3" creationId="{7C3CD6DE-6A8E-3B3D-390B-25037CF2B7F9}"/>
          </ac:picMkLst>
        </pc:picChg>
        <pc:picChg chg="add mod">
          <ac:chgData name="Thomas Stensitzki" userId="75cafe6b-2f2a-469b-85c4-eec3b9c972ba" providerId="ADAL" clId="{78A7489F-5177-4675-A072-D65159DC1369}" dt="2022-08-07T16:33:09.346" v="898" actId="1440"/>
          <ac:picMkLst>
            <pc:docMk/>
            <pc:sldMk cId="495201301" sldId="621"/>
            <ac:picMk id="6" creationId="{54ACFD51-013F-11D3-5AC1-DD8F71C7779F}"/>
          </ac:picMkLst>
        </pc:picChg>
      </pc:sldChg>
      <pc:sldChg chg="del">
        <pc:chgData name="Thomas Stensitzki" userId="75cafe6b-2f2a-469b-85c4-eec3b9c972ba" providerId="ADAL" clId="{78A7489F-5177-4675-A072-D65159DC1369}" dt="2022-08-06T13:56:41.651" v="119" actId="47"/>
        <pc:sldMkLst>
          <pc:docMk/>
          <pc:sldMk cId="4271250423" sldId="621"/>
        </pc:sldMkLst>
      </pc:sldChg>
      <pc:sldChg chg="add del">
        <pc:chgData name="Thomas Stensitzki" userId="75cafe6b-2f2a-469b-85c4-eec3b9c972ba" providerId="ADAL" clId="{78A7489F-5177-4675-A072-D65159DC1369}" dt="2022-08-06T13:57:05.154" v="122" actId="47"/>
        <pc:sldMkLst>
          <pc:docMk/>
          <pc:sldMk cId="228228310" sldId="622"/>
        </pc:sldMkLst>
      </pc:sldChg>
      <pc:sldChg chg="delSp modSp add">
        <pc:chgData name="Thomas Stensitzki" userId="75cafe6b-2f2a-469b-85c4-eec3b9c972ba" providerId="ADAL" clId="{78A7489F-5177-4675-A072-D65159DC1369}" dt="2022-08-10T10:19:59.340" v="2056" actId="1440"/>
        <pc:sldMkLst>
          <pc:docMk/>
          <pc:sldMk cId="1216098891" sldId="622"/>
        </pc:sldMkLst>
        <pc:picChg chg="del">
          <ac:chgData name="Thomas Stensitzki" userId="75cafe6b-2f2a-469b-85c4-eec3b9c972ba" providerId="ADAL" clId="{78A7489F-5177-4675-A072-D65159DC1369}" dt="2022-08-09T16:56:31.275" v="922" actId="478"/>
          <ac:picMkLst>
            <pc:docMk/>
            <pc:sldMk cId="1216098891" sldId="622"/>
            <ac:picMk id="1026" creationId="{B7F8F498-4FFF-EDA5-087D-1D4F52FA50CA}"/>
          </ac:picMkLst>
        </pc:picChg>
        <pc:picChg chg="mod">
          <ac:chgData name="Thomas Stensitzki" userId="75cafe6b-2f2a-469b-85c4-eec3b9c972ba" providerId="ADAL" clId="{78A7489F-5177-4675-A072-D65159DC1369}" dt="2022-08-10T10:19:59.340" v="2056" actId="1440"/>
          <ac:picMkLst>
            <pc:docMk/>
            <pc:sldMk cId="1216098891" sldId="622"/>
            <ac:picMk id="1028" creationId="{8B3653FD-FA04-3132-3198-3B31F53517E9}"/>
          </ac:picMkLst>
        </pc:picChg>
      </pc:sldChg>
      <pc:sldChg chg="addSp delSp modSp add mod">
        <pc:chgData name="Thomas Stensitzki" userId="75cafe6b-2f2a-469b-85c4-eec3b9c972ba" providerId="ADAL" clId="{78A7489F-5177-4675-A072-D65159DC1369}" dt="2022-08-10T10:20:02.484" v="2057" actId="1440"/>
        <pc:sldMkLst>
          <pc:docMk/>
          <pc:sldMk cId="1625578544" sldId="623"/>
        </pc:sldMkLst>
        <pc:spChg chg="add del">
          <ac:chgData name="Thomas Stensitzki" userId="75cafe6b-2f2a-469b-85c4-eec3b9c972ba" providerId="ADAL" clId="{78A7489F-5177-4675-A072-D65159DC1369}" dt="2022-08-09T16:56:58.920" v="928" actId="22"/>
          <ac:spMkLst>
            <pc:docMk/>
            <pc:sldMk cId="1625578544" sldId="623"/>
            <ac:spMk id="5" creationId="{8FE519ED-2A82-D279-5086-58BC08BD20D8}"/>
          </ac:spMkLst>
        </pc:spChg>
        <pc:picChg chg="del">
          <ac:chgData name="Thomas Stensitzki" userId="75cafe6b-2f2a-469b-85c4-eec3b9c972ba" providerId="ADAL" clId="{78A7489F-5177-4675-A072-D65159DC1369}" dt="2022-08-09T16:57:19.050" v="933" actId="478"/>
          <ac:picMkLst>
            <pc:docMk/>
            <pc:sldMk cId="1625578544" sldId="623"/>
            <ac:picMk id="1028" creationId="{8B3653FD-FA04-3132-3198-3B31F53517E9}"/>
          </ac:picMkLst>
        </pc:picChg>
        <pc:picChg chg="add mod">
          <ac:chgData name="Thomas Stensitzki" userId="75cafe6b-2f2a-469b-85c4-eec3b9c972ba" providerId="ADAL" clId="{78A7489F-5177-4675-A072-D65159DC1369}" dt="2022-08-10T10:20:02.484" v="2057" actId="1440"/>
          <ac:picMkLst>
            <pc:docMk/>
            <pc:sldMk cId="1625578544" sldId="623"/>
            <ac:picMk id="2050" creationId="{2D3A4476-8CC1-39D0-C23D-81A4E553664C}"/>
          </ac:picMkLst>
        </pc:picChg>
      </pc:sldChg>
      <pc:sldChg chg="add del">
        <pc:chgData name="Thomas Stensitzki" userId="75cafe6b-2f2a-469b-85c4-eec3b9c972ba" providerId="ADAL" clId="{78A7489F-5177-4675-A072-D65159DC1369}" dt="2022-08-06T13:57:05.154" v="122" actId="47"/>
        <pc:sldMkLst>
          <pc:docMk/>
          <pc:sldMk cId="2858615882" sldId="623"/>
        </pc:sldMkLst>
      </pc:sldChg>
      <pc:sldChg chg="add del">
        <pc:chgData name="Thomas Stensitzki" userId="75cafe6b-2f2a-469b-85c4-eec3b9c972ba" providerId="ADAL" clId="{78A7489F-5177-4675-A072-D65159DC1369}" dt="2022-08-06T13:57:05.154" v="122" actId="47"/>
        <pc:sldMkLst>
          <pc:docMk/>
          <pc:sldMk cId="1458805602" sldId="624"/>
        </pc:sldMkLst>
      </pc:sldChg>
      <pc:sldChg chg="addSp delSp modSp add">
        <pc:chgData name="Thomas Stensitzki" userId="75cafe6b-2f2a-469b-85c4-eec3b9c972ba" providerId="ADAL" clId="{78A7489F-5177-4675-A072-D65159DC1369}" dt="2022-08-10T10:20:03.947" v="2058" actId="1440"/>
        <pc:sldMkLst>
          <pc:docMk/>
          <pc:sldMk cId="3928386235" sldId="624"/>
        </pc:sldMkLst>
        <pc:picChg chg="del">
          <ac:chgData name="Thomas Stensitzki" userId="75cafe6b-2f2a-469b-85c4-eec3b9c972ba" providerId="ADAL" clId="{78A7489F-5177-4675-A072-D65159DC1369}" dt="2022-08-09T16:57:53.939" v="941" actId="478"/>
          <ac:picMkLst>
            <pc:docMk/>
            <pc:sldMk cId="3928386235" sldId="624"/>
            <ac:picMk id="2050" creationId="{2D3A4476-8CC1-39D0-C23D-81A4E553664C}"/>
          </ac:picMkLst>
        </pc:picChg>
        <pc:picChg chg="add mod">
          <ac:chgData name="Thomas Stensitzki" userId="75cafe6b-2f2a-469b-85c4-eec3b9c972ba" providerId="ADAL" clId="{78A7489F-5177-4675-A072-D65159DC1369}" dt="2022-08-10T10:20:03.947" v="2058" actId="1440"/>
          <ac:picMkLst>
            <pc:docMk/>
            <pc:sldMk cId="3928386235" sldId="624"/>
            <ac:picMk id="3074" creationId="{767C9165-027D-6F2B-17B4-BEBB9518C685}"/>
          </ac:picMkLst>
        </pc:picChg>
      </pc:sldChg>
      <pc:sldChg chg="del">
        <pc:chgData name="Thomas Stensitzki" userId="75cafe6b-2f2a-469b-85c4-eec3b9c972ba" providerId="ADAL" clId="{78A7489F-5177-4675-A072-D65159DC1369}" dt="2022-08-06T13:56:41.651" v="119" actId="47"/>
        <pc:sldMkLst>
          <pc:docMk/>
          <pc:sldMk cId="772649472" sldId="625"/>
        </pc:sldMkLst>
      </pc:sldChg>
      <pc:sldChg chg="delSp modSp add mod">
        <pc:chgData name="Thomas Stensitzki" userId="75cafe6b-2f2a-469b-85c4-eec3b9c972ba" providerId="ADAL" clId="{78A7489F-5177-4675-A072-D65159DC1369}" dt="2022-08-10T10:19:14.279" v="2039" actId="1440"/>
        <pc:sldMkLst>
          <pc:docMk/>
          <pc:sldMk cId="2431608557" sldId="625"/>
        </pc:sldMkLst>
        <pc:picChg chg="del">
          <ac:chgData name="Thomas Stensitzki" userId="75cafe6b-2f2a-469b-85c4-eec3b9c972ba" providerId="ADAL" clId="{78A7489F-5177-4675-A072-D65159DC1369}" dt="2022-08-09T17:02:33.280" v="977" actId="478"/>
          <ac:picMkLst>
            <pc:docMk/>
            <pc:sldMk cId="2431608557" sldId="625"/>
            <ac:picMk id="4" creationId="{DB26A891-FEB9-BE0E-582C-D71E578CD6EE}"/>
          </ac:picMkLst>
        </pc:picChg>
        <pc:picChg chg="del">
          <ac:chgData name="Thomas Stensitzki" userId="75cafe6b-2f2a-469b-85c4-eec3b9c972ba" providerId="ADAL" clId="{78A7489F-5177-4675-A072-D65159DC1369}" dt="2022-08-09T17:02:33.894" v="978" actId="478"/>
          <ac:picMkLst>
            <pc:docMk/>
            <pc:sldMk cId="2431608557" sldId="625"/>
            <ac:picMk id="4098" creationId="{44675D0D-E278-C3F3-AE57-0D44ADAD592E}"/>
          </ac:picMkLst>
        </pc:picChg>
        <pc:picChg chg="del">
          <ac:chgData name="Thomas Stensitzki" userId="75cafe6b-2f2a-469b-85c4-eec3b9c972ba" providerId="ADAL" clId="{78A7489F-5177-4675-A072-D65159DC1369}" dt="2022-08-09T17:02:34.581" v="979" actId="478"/>
          <ac:picMkLst>
            <pc:docMk/>
            <pc:sldMk cId="2431608557" sldId="625"/>
            <ac:picMk id="4100" creationId="{D0F09251-F2C4-882E-D250-6D9DD7DBD352}"/>
          </ac:picMkLst>
        </pc:picChg>
        <pc:picChg chg="mod">
          <ac:chgData name="Thomas Stensitzki" userId="75cafe6b-2f2a-469b-85c4-eec3b9c972ba" providerId="ADAL" clId="{78A7489F-5177-4675-A072-D65159DC1369}" dt="2022-08-10T10:19:14.279" v="2039" actId="1440"/>
          <ac:picMkLst>
            <pc:docMk/>
            <pc:sldMk cId="2431608557" sldId="625"/>
            <ac:picMk id="4102" creationId="{F0CDA692-00C1-65A2-667C-990CF73E4691}"/>
          </ac:picMkLst>
        </pc:picChg>
      </pc:sldChg>
      <pc:sldChg chg="del">
        <pc:chgData name="Thomas Stensitzki" userId="75cafe6b-2f2a-469b-85c4-eec3b9c972ba" providerId="ADAL" clId="{78A7489F-5177-4675-A072-D65159DC1369}" dt="2022-08-06T13:56:41.651" v="119" actId="47"/>
        <pc:sldMkLst>
          <pc:docMk/>
          <pc:sldMk cId="60466671" sldId="626"/>
        </pc:sldMkLst>
      </pc:sldChg>
      <pc:sldChg chg="addSp delSp modSp add mod modNotesTx">
        <pc:chgData name="Thomas Stensitzki" userId="75cafe6b-2f2a-469b-85c4-eec3b9c972ba" providerId="ADAL" clId="{78A7489F-5177-4675-A072-D65159DC1369}" dt="2022-08-10T10:20:05.340" v="2059" actId="1440"/>
        <pc:sldMkLst>
          <pc:docMk/>
          <pc:sldMk cId="1333001301" sldId="626"/>
        </pc:sldMkLst>
        <pc:spChg chg="mod">
          <ac:chgData name="Thomas Stensitzki" userId="75cafe6b-2f2a-469b-85c4-eec3b9c972ba" providerId="ADAL" clId="{78A7489F-5177-4675-A072-D65159DC1369}" dt="2022-08-09T17:08:23.513" v="1039"/>
          <ac:spMkLst>
            <pc:docMk/>
            <pc:sldMk cId="1333001301" sldId="626"/>
            <ac:spMk id="2" creationId="{EC46AD28-746E-4246-884F-4DAE24C62042}"/>
          </ac:spMkLst>
        </pc:spChg>
        <pc:picChg chg="del">
          <ac:chgData name="Thomas Stensitzki" userId="75cafe6b-2f2a-469b-85c4-eec3b9c972ba" providerId="ADAL" clId="{78A7489F-5177-4675-A072-D65159DC1369}" dt="2022-08-09T17:08:20.425" v="1038" actId="478"/>
          <ac:picMkLst>
            <pc:docMk/>
            <pc:sldMk cId="1333001301" sldId="626"/>
            <ac:picMk id="3074" creationId="{767C9165-027D-6F2B-17B4-BEBB9518C685}"/>
          </ac:picMkLst>
        </pc:picChg>
        <pc:picChg chg="add mod">
          <ac:chgData name="Thomas Stensitzki" userId="75cafe6b-2f2a-469b-85c4-eec3b9c972ba" providerId="ADAL" clId="{78A7489F-5177-4675-A072-D65159DC1369}" dt="2022-08-10T10:20:05.340" v="2059" actId="1440"/>
          <ac:picMkLst>
            <pc:docMk/>
            <pc:sldMk cId="1333001301" sldId="626"/>
            <ac:picMk id="5122" creationId="{C3BCEB0C-B417-B7D1-9360-556B2D66400F}"/>
          </ac:picMkLst>
        </pc:picChg>
      </pc:sldChg>
      <pc:sldChg chg="add del">
        <pc:chgData name="Thomas Stensitzki" userId="75cafe6b-2f2a-469b-85c4-eec3b9c972ba" providerId="ADAL" clId="{78A7489F-5177-4675-A072-D65159DC1369}" dt="2022-08-06T13:57:05.154" v="122" actId="47"/>
        <pc:sldMkLst>
          <pc:docMk/>
          <pc:sldMk cId="851289349" sldId="627"/>
        </pc:sldMkLst>
      </pc:sldChg>
      <pc:sldChg chg="addSp delSp modSp add mod modAnim modNotesTx">
        <pc:chgData name="Thomas Stensitzki" userId="75cafe6b-2f2a-469b-85c4-eec3b9c972ba" providerId="ADAL" clId="{78A7489F-5177-4675-A072-D65159DC1369}" dt="2022-08-10T10:21:09.404" v="2078"/>
        <pc:sldMkLst>
          <pc:docMk/>
          <pc:sldMk cId="2864403089" sldId="627"/>
        </pc:sldMkLst>
        <pc:spChg chg="mod">
          <ac:chgData name="Thomas Stensitzki" userId="75cafe6b-2f2a-469b-85c4-eec3b9c972ba" providerId="ADAL" clId="{78A7489F-5177-4675-A072-D65159DC1369}" dt="2022-08-09T17:09:57.749" v="1049"/>
          <ac:spMkLst>
            <pc:docMk/>
            <pc:sldMk cId="2864403089" sldId="627"/>
            <ac:spMk id="2" creationId="{8F0EE741-1AA9-4E98-9676-69EE83AA3E40}"/>
          </ac:spMkLst>
        </pc:spChg>
        <pc:spChg chg="add del">
          <ac:chgData name="Thomas Stensitzki" userId="75cafe6b-2f2a-469b-85c4-eec3b9c972ba" providerId="ADAL" clId="{78A7489F-5177-4675-A072-D65159DC1369}" dt="2022-08-09T17:11:15.681" v="1064" actId="22"/>
          <ac:spMkLst>
            <pc:docMk/>
            <pc:sldMk cId="2864403089" sldId="627"/>
            <ac:spMk id="7" creationId="{031720FD-0C8A-A757-5BF1-FD390EFE6A4B}"/>
          </ac:spMkLst>
        </pc:spChg>
        <pc:picChg chg="del">
          <ac:chgData name="Thomas Stensitzki" userId="75cafe6b-2f2a-469b-85c4-eec3b9c972ba" providerId="ADAL" clId="{78A7489F-5177-4675-A072-D65159DC1369}" dt="2022-08-09T17:10:00.163" v="1050" actId="478"/>
          <ac:picMkLst>
            <pc:docMk/>
            <pc:sldMk cId="2864403089" sldId="627"/>
            <ac:picMk id="4102" creationId="{F0CDA692-00C1-65A2-667C-990CF73E4691}"/>
          </ac:picMkLst>
        </pc:picChg>
        <pc:picChg chg="add mod">
          <ac:chgData name="Thomas Stensitzki" userId="75cafe6b-2f2a-469b-85c4-eec3b9c972ba" providerId="ADAL" clId="{78A7489F-5177-4675-A072-D65159DC1369}" dt="2022-08-09T17:11:03.577" v="1062" actId="1076"/>
          <ac:picMkLst>
            <pc:docMk/>
            <pc:sldMk cId="2864403089" sldId="627"/>
            <ac:picMk id="6146" creationId="{B592E71D-CA5F-5ED8-D231-1890154A1049}"/>
          </ac:picMkLst>
        </pc:picChg>
        <pc:picChg chg="add mod">
          <ac:chgData name="Thomas Stensitzki" userId="75cafe6b-2f2a-469b-85c4-eec3b9c972ba" providerId="ADAL" clId="{78A7489F-5177-4675-A072-D65159DC1369}" dt="2022-08-09T17:10:59.578" v="1061" actId="1076"/>
          <ac:picMkLst>
            <pc:docMk/>
            <pc:sldMk cId="2864403089" sldId="627"/>
            <ac:picMk id="6148" creationId="{4874B0BD-8E8A-00C2-6366-83B3E04441AA}"/>
          </ac:picMkLst>
        </pc:picChg>
      </pc:sldChg>
      <pc:sldChg chg="addSp delSp modSp add mod modNotesTx">
        <pc:chgData name="Thomas Stensitzki" userId="75cafe6b-2f2a-469b-85c4-eec3b9c972ba" providerId="ADAL" clId="{78A7489F-5177-4675-A072-D65159DC1369}" dt="2022-08-10T10:20:06.740" v="2060" actId="1440"/>
        <pc:sldMkLst>
          <pc:docMk/>
          <pc:sldMk cId="2624383707" sldId="628"/>
        </pc:sldMkLst>
        <pc:spChg chg="mod">
          <ac:chgData name="Thomas Stensitzki" userId="75cafe6b-2f2a-469b-85c4-eec3b9c972ba" providerId="ADAL" clId="{78A7489F-5177-4675-A072-D65159DC1369}" dt="2022-08-09T17:11:43.815" v="1069"/>
          <ac:spMkLst>
            <pc:docMk/>
            <pc:sldMk cId="2624383707" sldId="628"/>
            <ac:spMk id="2" creationId="{EC46AD28-746E-4246-884F-4DAE24C62042}"/>
          </ac:spMkLst>
        </pc:spChg>
        <pc:picChg chg="del">
          <ac:chgData name="Thomas Stensitzki" userId="75cafe6b-2f2a-469b-85c4-eec3b9c972ba" providerId="ADAL" clId="{78A7489F-5177-4675-A072-D65159DC1369}" dt="2022-08-09T17:11:59.644" v="1070" actId="478"/>
          <ac:picMkLst>
            <pc:docMk/>
            <pc:sldMk cId="2624383707" sldId="628"/>
            <ac:picMk id="5122" creationId="{C3BCEB0C-B417-B7D1-9360-556B2D66400F}"/>
          </ac:picMkLst>
        </pc:picChg>
        <pc:picChg chg="add mod">
          <ac:chgData name="Thomas Stensitzki" userId="75cafe6b-2f2a-469b-85c4-eec3b9c972ba" providerId="ADAL" clId="{78A7489F-5177-4675-A072-D65159DC1369}" dt="2022-08-10T10:20:06.740" v="2060" actId="1440"/>
          <ac:picMkLst>
            <pc:docMk/>
            <pc:sldMk cId="2624383707" sldId="628"/>
            <ac:picMk id="7170" creationId="{8905B8A9-C7B3-F30A-D961-DC78BEC6DA73}"/>
          </ac:picMkLst>
        </pc:picChg>
      </pc:sldChg>
      <pc:sldChg chg="add del">
        <pc:chgData name="Thomas Stensitzki" userId="75cafe6b-2f2a-469b-85c4-eec3b9c972ba" providerId="ADAL" clId="{78A7489F-5177-4675-A072-D65159DC1369}" dt="2022-08-06T13:57:05.154" v="122" actId="47"/>
        <pc:sldMkLst>
          <pc:docMk/>
          <pc:sldMk cId="2662624884" sldId="628"/>
        </pc:sldMkLst>
      </pc:sldChg>
      <pc:sldChg chg="addSp delSp modSp add mod modNotesTx">
        <pc:chgData name="Thomas Stensitzki" userId="75cafe6b-2f2a-469b-85c4-eec3b9c972ba" providerId="ADAL" clId="{78A7489F-5177-4675-A072-D65159DC1369}" dt="2022-08-10T10:19:25.372" v="2043" actId="1440"/>
        <pc:sldMkLst>
          <pc:docMk/>
          <pc:sldMk cId="182847428" sldId="629"/>
        </pc:sldMkLst>
        <pc:spChg chg="mod">
          <ac:chgData name="Thomas Stensitzki" userId="75cafe6b-2f2a-469b-85c4-eec3b9c972ba" providerId="ADAL" clId="{78A7489F-5177-4675-A072-D65159DC1369}" dt="2022-08-09T17:12:46.925" v="1076"/>
          <ac:spMkLst>
            <pc:docMk/>
            <pc:sldMk cId="182847428" sldId="629"/>
            <ac:spMk id="2" creationId="{8F0EE741-1AA9-4E98-9676-69EE83AA3E40}"/>
          </ac:spMkLst>
        </pc:spChg>
        <pc:picChg chg="del">
          <ac:chgData name="Thomas Stensitzki" userId="75cafe6b-2f2a-469b-85c4-eec3b9c972ba" providerId="ADAL" clId="{78A7489F-5177-4675-A072-D65159DC1369}" dt="2022-08-09T17:12:48.377" v="1077" actId="478"/>
          <ac:picMkLst>
            <pc:docMk/>
            <pc:sldMk cId="182847428" sldId="629"/>
            <ac:picMk id="6146" creationId="{B592E71D-CA5F-5ED8-D231-1890154A1049}"/>
          </ac:picMkLst>
        </pc:picChg>
        <pc:picChg chg="del">
          <ac:chgData name="Thomas Stensitzki" userId="75cafe6b-2f2a-469b-85c4-eec3b9c972ba" providerId="ADAL" clId="{78A7489F-5177-4675-A072-D65159DC1369}" dt="2022-08-09T17:12:49.162" v="1078" actId="478"/>
          <ac:picMkLst>
            <pc:docMk/>
            <pc:sldMk cId="182847428" sldId="629"/>
            <ac:picMk id="6148" creationId="{4874B0BD-8E8A-00C2-6366-83B3E04441AA}"/>
          </ac:picMkLst>
        </pc:picChg>
        <pc:picChg chg="add mod">
          <ac:chgData name="Thomas Stensitzki" userId="75cafe6b-2f2a-469b-85c4-eec3b9c972ba" providerId="ADAL" clId="{78A7489F-5177-4675-A072-D65159DC1369}" dt="2022-08-10T10:19:25.372" v="2043" actId="1440"/>
          <ac:picMkLst>
            <pc:docMk/>
            <pc:sldMk cId="182847428" sldId="629"/>
            <ac:picMk id="8194" creationId="{EA005277-DE30-EF03-F6DE-0E65BAFBDC39}"/>
          </ac:picMkLst>
        </pc:picChg>
      </pc:sldChg>
      <pc:sldChg chg="del">
        <pc:chgData name="Thomas Stensitzki" userId="75cafe6b-2f2a-469b-85c4-eec3b9c972ba" providerId="ADAL" clId="{78A7489F-5177-4675-A072-D65159DC1369}" dt="2022-08-06T13:56:19.231" v="114" actId="47"/>
        <pc:sldMkLst>
          <pc:docMk/>
          <pc:sldMk cId="2218637555" sldId="629"/>
        </pc:sldMkLst>
      </pc:sldChg>
      <pc:sldChg chg="modSp add mod ord">
        <pc:chgData name="Thomas Stensitzki" userId="75cafe6b-2f2a-469b-85c4-eec3b9c972ba" providerId="ADAL" clId="{78A7489F-5177-4675-A072-D65159DC1369}" dt="2022-08-10T10:21:17.778" v="2082" actId="1035"/>
        <pc:sldMkLst>
          <pc:docMk/>
          <pc:sldMk cId="1125589417" sldId="630"/>
        </pc:sldMkLst>
        <pc:spChg chg="mod">
          <ac:chgData name="Thomas Stensitzki" userId="75cafe6b-2f2a-469b-85c4-eec3b9c972ba" providerId="ADAL" clId="{78A7489F-5177-4675-A072-D65159DC1369}" dt="2022-08-10T10:21:17.778" v="2082" actId="1035"/>
          <ac:spMkLst>
            <pc:docMk/>
            <pc:sldMk cId="1125589417" sldId="630"/>
            <ac:spMk id="2" creationId="{909DC09D-B9A6-4493-9A72-1CA7ECB1F5CA}"/>
          </ac:spMkLst>
        </pc:spChg>
        <pc:spChg chg="mod">
          <ac:chgData name="Thomas Stensitzki" userId="75cafe6b-2f2a-469b-85c4-eec3b9c972ba" providerId="ADAL" clId="{78A7489F-5177-4675-A072-D65159DC1369}" dt="2022-08-10T10:17:43.183" v="2025" actId="255"/>
          <ac:spMkLst>
            <pc:docMk/>
            <pc:sldMk cId="1125589417" sldId="630"/>
            <ac:spMk id="5" creationId="{C24DACB5-1BEC-4C86-9652-BAFD8DE56FEF}"/>
          </ac:spMkLst>
        </pc:spChg>
      </pc:sldChg>
      <pc:sldChg chg="del">
        <pc:chgData name="Thomas Stensitzki" userId="75cafe6b-2f2a-469b-85c4-eec3b9c972ba" providerId="ADAL" clId="{78A7489F-5177-4675-A072-D65159DC1369}" dt="2022-08-06T13:56:19.231" v="114" actId="47"/>
        <pc:sldMkLst>
          <pc:docMk/>
          <pc:sldMk cId="3271888249" sldId="630"/>
        </pc:sldMkLst>
      </pc:sldChg>
      <pc:sldChg chg="addSp delSp modSp add mod ord">
        <pc:chgData name="Thomas Stensitzki" userId="75cafe6b-2f2a-469b-85c4-eec3b9c972ba" providerId="ADAL" clId="{78A7489F-5177-4675-A072-D65159DC1369}" dt="2022-08-10T10:19:29.356" v="2044" actId="1440"/>
        <pc:sldMkLst>
          <pc:docMk/>
          <pc:sldMk cId="1294991851" sldId="631"/>
        </pc:sldMkLst>
        <pc:spChg chg="mod">
          <ac:chgData name="Thomas Stensitzki" userId="75cafe6b-2f2a-469b-85c4-eec3b9c972ba" providerId="ADAL" clId="{78A7489F-5177-4675-A072-D65159DC1369}" dt="2022-08-09T17:16:51.231" v="1144" actId="255"/>
          <ac:spMkLst>
            <pc:docMk/>
            <pc:sldMk cId="1294991851" sldId="631"/>
            <ac:spMk id="2" creationId="{8F0EE741-1AA9-4E98-9676-69EE83AA3E40}"/>
          </ac:spMkLst>
        </pc:spChg>
        <pc:picChg chg="del">
          <ac:chgData name="Thomas Stensitzki" userId="75cafe6b-2f2a-469b-85c4-eec3b9c972ba" providerId="ADAL" clId="{78A7489F-5177-4675-A072-D65159DC1369}" dt="2022-08-09T17:15:47.848" v="1118" actId="478"/>
          <ac:picMkLst>
            <pc:docMk/>
            <pc:sldMk cId="1294991851" sldId="631"/>
            <ac:picMk id="8194" creationId="{EA005277-DE30-EF03-F6DE-0E65BAFBDC39}"/>
          </ac:picMkLst>
        </pc:picChg>
        <pc:picChg chg="add mod">
          <ac:chgData name="Thomas Stensitzki" userId="75cafe6b-2f2a-469b-85c4-eec3b9c972ba" providerId="ADAL" clId="{78A7489F-5177-4675-A072-D65159DC1369}" dt="2022-08-10T10:19:29.356" v="2044" actId="1440"/>
          <ac:picMkLst>
            <pc:docMk/>
            <pc:sldMk cId="1294991851" sldId="631"/>
            <ac:picMk id="9218" creationId="{488761A5-3656-248B-4A95-CEAD5BD3DE14}"/>
          </ac:picMkLst>
        </pc:picChg>
      </pc:sldChg>
      <pc:sldChg chg="del">
        <pc:chgData name="Thomas Stensitzki" userId="75cafe6b-2f2a-469b-85c4-eec3b9c972ba" providerId="ADAL" clId="{78A7489F-5177-4675-A072-D65159DC1369}" dt="2022-08-06T13:56:19.231" v="114" actId="47"/>
        <pc:sldMkLst>
          <pc:docMk/>
          <pc:sldMk cId="2569360966" sldId="631"/>
        </pc:sldMkLst>
      </pc:sldChg>
      <pc:sldChg chg="addSp delSp modSp add mod modNotesTx">
        <pc:chgData name="Thomas Stensitzki" userId="75cafe6b-2f2a-469b-85c4-eec3b9c972ba" providerId="ADAL" clId="{78A7489F-5177-4675-A072-D65159DC1369}" dt="2022-08-10T10:20:09.447" v="2062" actId="1440"/>
        <pc:sldMkLst>
          <pc:docMk/>
          <pc:sldMk cId="74767398" sldId="632"/>
        </pc:sldMkLst>
        <pc:spChg chg="mod">
          <ac:chgData name="Thomas Stensitzki" userId="75cafe6b-2f2a-469b-85c4-eec3b9c972ba" providerId="ADAL" clId="{78A7489F-5177-4675-A072-D65159DC1369}" dt="2022-08-09T17:18:01.768" v="1154" actId="14100"/>
          <ac:spMkLst>
            <pc:docMk/>
            <pc:sldMk cId="74767398" sldId="632"/>
            <ac:spMk id="2" creationId="{EC46AD28-746E-4246-884F-4DAE24C62042}"/>
          </ac:spMkLst>
        </pc:spChg>
        <pc:picChg chg="del">
          <ac:chgData name="Thomas Stensitzki" userId="75cafe6b-2f2a-469b-85c4-eec3b9c972ba" providerId="ADAL" clId="{78A7489F-5177-4675-A072-D65159DC1369}" dt="2022-08-09T17:17:41.659" v="1148" actId="478"/>
          <ac:picMkLst>
            <pc:docMk/>
            <pc:sldMk cId="74767398" sldId="632"/>
            <ac:picMk id="7170" creationId="{8905B8A9-C7B3-F30A-D961-DC78BEC6DA73}"/>
          </ac:picMkLst>
        </pc:picChg>
        <pc:picChg chg="add mod">
          <ac:chgData name="Thomas Stensitzki" userId="75cafe6b-2f2a-469b-85c4-eec3b9c972ba" providerId="ADAL" clId="{78A7489F-5177-4675-A072-D65159DC1369}" dt="2022-08-10T10:20:08.888" v="2061" actId="1440"/>
          <ac:picMkLst>
            <pc:docMk/>
            <pc:sldMk cId="74767398" sldId="632"/>
            <ac:picMk id="10242" creationId="{20964371-AAE5-AF4E-C9C4-C4AE3DD3AFDF}"/>
          </ac:picMkLst>
        </pc:picChg>
        <pc:picChg chg="add mod">
          <ac:chgData name="Thomas Stensitzki" userId="75cafe6b-2f2a-469b-85c4-eec3b9c972ba" providerId="ADAL" clId="{78A7489F-5177-4675-A072-D65159DC1369}" dt="2022-08-10T10:20:09.447" v="2062" actId="1440"/>
          <ac:picMkLst>
            <pc:docMk/>
            <pc:sldMk cId="74767398" sldId="632"/>
            <ac:picMk id="10244" creationId="{0C5F9F00-8DE3-1048-2F7D-E0D78CA6B8FF}"/>
          </ac:picMkLst>
        </pc:picChg>
      </pc:sldChg>
      <pc:sldChg chg="del">
        <pc:chgData name="Thomas Stensitzki" userId="75cafe6b-2f2a-469b-85c4-eec3b9c972ba" providerId="ADAL" clId="{78A7489F-5177-4675-A072-D65159DC1369}" dt="2022-08-06T13:56:19.231" v="114" actId="47"/>
        <pc:sldMkLst>
          <pc:docMk/>
          <pc:sldMk cId="3289523661" sldId="632"/>
        </pc:sldMkLst>
      </pc:sldChg>
      <pc:sldChg chg="modSp new mod">
        <pc:chgData name="Thomas Stensitzki" userId="75cafe6b-2f2a-469b-85c4-eec3b9c972ba" providerId="ADAL" clId="{78A7489F-5177-4675-A072-D65159DC1369}" dt="2022-08-09T17:23:32.823" v="1327" actId="113"/>
        <pc:sldMkLst>
          <pc:docMk/>
          <pc:sldMk cId="222009446" sldId="633"/>
        </pc:sldMkLst>
        <pc:spChg chg="mod">
          <ac:chgData name="Thomas Stensitzki" userId="75cafe6b-2f2a-469b-85c4-eec3b9c972ba" providerId="ADAL" clId="{78A7489F-5177-4675-A072-D65159DC1369}" dt="2022-08-09T17:20:38.186" v="1172"/>
          <ac:spMkLst>
            <pc:docMk/>
            <pc:sldMk cId="222009446" sldId="633"/>
            <ac:spMk id="2" creationId="{3F6EC6BF-398B-0BFB-5F96-5F1AB56F0DFB}"/>
          </ac:spMkLst>
        </pc:spChg>
        <pc:spChg chg="mod">
          <ac:chgData name="Thomas Stensitzki" userId="75cafe6b-2f2a-469b-85c4-eec3b9c972ba" providerId="ADAL" clId="{78A7489F-5177-4675-A072-D65159DC1369}" dt="2022-08-09T17:23:32.823" v="1327" actId="113"/>
          <ac:spMkLst>
            <pc:docMk/>
            <pc:sldMk cId="222009446" sldId="633"/>
            <ac:spMk id="3" creationId="{B725E479-FBDE-7AEB-E785-70720672DCA2}"/>
          </ac:spMkLst>
        </pc:spChg>
      </pc:sldChg>
      <pc:sldChg chg="del">
        <pc:chgData name="Thomas Stensitzki" userId="75cafe6b-2f2a-469b-85c4-eec3b9c972ba" providerId="ADAL" clId="{78A7489F-5177-4675-A072-D65159DC1369}" dt="2022-08-06T13:56:19.231" v="114" actId="47"/>
        <pc:sldMkLst>
          <pc:docMk/>
          <pc:sldMk cId="561515482" sldId="633"/>
        </pc:sldMkLst>
      </pc:sldChg>
      <pc:sldChg chg="addSp modSp new mod">
        <pc:chgData name="Thomas Stensitzki" userId="75cafe6b-2f2a-469b-85c4-eec3b9c972ba" providerId="ADAL" clId="{78A7489F-5177-4675-A072-D65159DC1369}" dt="2022-08-10T10:19:30.987" v="2045" actId="1440"/>
        <pc:sldMkLst>
          <pc:docMk/>
          <pc:sldMk cId="641717594" sldId="634"/>
        </pc:sldMkLst>
        <pc:spChg chg="mod">
          <ac:chgData name="Thomas Stensitzki" userId="75cafe6b-2f2a-469b-85c4-eec3b9c972ba" providerId="ADAL" clId="{78A7489F-5177-4675-A072-D65159DC1369}" dt="2022-08-09T17:24:49.916" v="1353"/>
          <ac:spMkLst>
            <pc:docMk/>
            <pc:sldMk cId="641717594" sldId="634"/>
            <ac:spMk id="2" creationId="{8887BDC2-3D24-92F5-3433-69A8D465BA49}"/>
          </ac:spMkLst>
        </pc:spChg>
        <pc:picChg chg="add mod">
          <ac:chgData name="Thomas Stensitzki" userId="75cafe6b-2f2a-469b-85c4-eec3b9c972ba" providerId="ADAL" clId="{78A7489F-5177-4675-A072-D65159DC1369}" dt="2022-08-10T10:19:30.987" v="2045" actId="1440"/>
          <ac:picMkLst>
            <pc:docMk/>
            <pc:sldMk cId="641717594" sldId="634"/>
            <ac:picMk id="11266" creationId="{4857E005-630C-AFC7-B610-09E4B6FD92F8}"/>
          </ac:picMkLst>
        </pc:picChg>
      </pc:sldChg>
      <pc:sldChg chg="del">
        <pc:chgData name="Thomas Stensitzki" userId="75cafe6b-2f2a-469b-85c4-eec3b9c972ba" providerId="ADAL" clId="{78A7489F-5177-4675-A072-D65159DC1369}" dt="2022-08-06T13:56:19.231" v="114" actId="47"/>
        <pc:sldMkLst>
          <pc:docMk/>
          <pc:sldMk cId="708263922" sldId="634"/>
        </pc:sldMkLst>
      </pc:sldChg>
      <pc:sldChg chg="addSp delSp modSp new mod">
        <pc:chgData name="Thomas Stensitzki" userId="75cafe6b-2f2a-469b-85c4-eec3b9c972ba" providerId="ADAL" clId="{78A7489F-5177-4675-A072-D65159DC1369}" dt="2022-08-10T10:20:12.625" v="2063" actId="1440"/>
        <pc:sldMkLst>
          <pc:docMk/>
          <pc:sldMk cId="1631157761" sldId="635"/>
        </pc:sldMkLst>
        <pc:spChg chg="mod">
          <ac:chgData name="Thomas Stensitzki" userId="75cafe6b-2f2a-469b-85c4-eec3b9c972ba" providerId="ADAL" clId="{78A7489F-5177-4675-A072-D65159DC1369}" dt="2022-08-09T17:27:26.605" v="1386"/>
          <ac:spMkLst>
            <pc:docMk/>
            <pc:sldMk cId="1631157761" sldId="635"/>
            <ac:spMk id="2" creationId="{7B9CA038-772E-31AF-6878-23EE25451115}"/>
          </ac:spMkLst>
        </pc:spChg>
        <pc:spChg chg="del">
          <ac:chgData name="Thomas Stensitzki" userId="75cafe6b-2f2a-469b-85c4-eec3b9c972ba" providerId="ADAL" clId="{78A7489F-5177-4675-A072-D65159DC1369}" dt="2022-08-09T17:28:03.617" v="1409" actId="478"/>
          <ac:spMkLst>
            <pc:docMk/>
            <pc:sldMk cId="1631157761" sldId="635"/>
            <ac:spMk id="3" creationId="{0607B977-DC86-A5C7-C79C-0B001F476415}"/>
          </ac:spMkLst>
        </pc:spChg>
        <pc:spChg chg="add del">
          <ac:chgData name="Thomas Stensitzki" userId="75cafe6b-2f2a-469b-85c4-eec3b9c972ba" providerId="ADAL" clId="{78A7489F-5177-4675-A072-D65159DC1369}" dt="2022-08-09T17:28:08.310" v="1411" actId="22"/>
          <ac:spMkLst>
            <pc:docMk/>
            <pc:sldMk cId="1631157761" sldId="635"/>
            <ac:spMk id="5" creationId="{ADE0440A-9C1B-8A73-BEF8-C544E84FD685}"/>
          </ac:spMkLst>
        </pc:spChg>
        <pc:picChg chg="add mod">
          <ac:chgData name="Thomas Stensitzki" userId="75cafe6b-2f2a-469b-85c4-eec3b9c972ba" providerId="ADAL" clId="{78A7489F-5177-4675-A072-D65159DC1369}" dt="2022-08-10T10:20:12.625" v="2063" actId="1440"/>
          <ac:picMkLst>
            <pc:docMk/>
            <pc:sldMk cId="1631157761" sldId="635"/>
            <ac:picMk id="6" creationId="{8422AC68-EFD8-AEC7-F85C-C3CFB82369E2}"/>
          </ac:picMkLst>
        </pc:picChg>
      </pc:sldChg>
      <pc:sldChg chg="del">
        <pc:chgData name="Thomas Stensitzki" userId="75cafe6b-2f2a-469b-85c4-eec3b9c972ba" providerId="ADAL" clId="{78A7489F-5177-4675-A072-D65159DC1369}" dt="2022-08-06T13:56:19.231" v="114" actId="47"/>
        <pc:sldMkLst>
          <pc:docMk/>
          <pc:sldMk cId="1915675541" sldId="635"/>
        </pc:sldMkLst>
      </pc:sldChg>
      <pc:sldChg chg="del">
        <pc:chgData name="Thomas Stensitzki" userId="75cafe6b-2f2a-469b-85c4-eec3b9c972ba" providerId="ADAL" clId="{78A7489F-5177-4675-A072-D65159DC1369}" dt="2022-08-06T13:56:41.651" v="119" actId="47"/>
        <pc:sldMkLst>
          <pc:docMk/>
          <pc:sldMk cId="162606529" sldId="636"/>
        </pc:sldMkLst>
      </pc:sldChg>
      <pc:sldChg chg="addSp delSp modSp add mod">
        <pc:chgData name="Thomas Stensitzki" userId="75cafe6b-2f2a-469b-85c4-eec3b9c972ba" providerId="ADAL" clId="{78A7489F-5177-4675-A072-D65159DC1369}" dt="2022-08-10T10:20:14.234" v="2064" actId="1440"/>
        <pc:sldMkLst>
          <pc:docMk/>
          <pc:sldMk cId="2329644470" sldId="636"/>
        </pc:sldMkLst>
        <pc:picChg chg="del">
          <ac:chgData name="Thomas Stensitzki" userId="75cafe6b-2f2a-469b-85c4-eec3b9c972ba" providerId="ADAL" clId="{78A7489F-5177-4675-A072-D65159DC1369}" dt="2022-08-09T17:28:45.691" v="1420" actId="478"/>
          <ac:picMkLst>
            <pc:docMk/>
            <pc:sldMk cId="2329644470" sldId="636"/>
            <ac:picMk id="6" creationId="{8422AC68-EFD8-AEC7-F85C-C3CFB82369E2}"/>
          </ac:picMkLst>
        </pc:picChg>
        <pc:picChg chg="add mod">
          <ac:chgData name="Thomas Stensitzki" userId="75cafe6b-2f2a-469b-85c4-eec3b9c972ba" providerId="ADAL" clId="{78A7489F-5177-4675-A072-D65159DC1369}" dt="2022-08-10T10:20:14.234" v="2064" actId="1440"/>
          <ac:picMkLst>
            <pc:docMk/>
            <pc:sldMk cId="2329644470" sldId="636"/>
            <ac:picMk id="12290" creationId="{5D10AD02-9E97-E148-BCD3-6BDA04AA4614}"/>
          </ac:picMkLst>
        </pc:picChg>
      </pc:sldChg>
      <pc:sldChg chg="del">
        <pc:chgData name="Thomas Stensitzki" userId="75cafe6b-2f2a-469b-85c4-eec3b9c972ba" providerId="ADAL" clId="{78A7489F-5177-4675-A072-D65159DC1369}" dt="2022-08-06T13:56:41.651" v="119" actId="47"/>
        <pc:sldMkLst>
          <pc:docMk/>
          <pc:sldMk cId="2667813829" sldId="637"/>
        </pc:sldMkLst>
      </pc:sldChg>
      <pc:sldChg chg="addSp modSp new mod">
        <pc:chgData name="Thomas Stensitzki" userId="75cafe6b-2f2a-469b-85c4-eec3b9c972ba" providerId="ADAL" clId="{78A7489F-5177-4675-A072-D65159DC1369}" dt="2022-08-10T10:19:32.878" v="2046" actId="1440"/>
        <pc:sldMkLst>
          <pc:docMk/>
          <pc:sldMk cId="3684390708" sldId="637"/>
        </pc:sldMkLst>
        <pc:spChg chg="mod">
          <ac:chgData name="Thomas Stensitzki" userId="75cafe6b-2f2a-469b-85c4-eec3b9c972ba" providerId="ADAL" clId="{78A7489F-5177-4675-A072-D65159DC1369}" dt="2022-08-09T17:30:14.373" v="1425"/>
          <ac:spMkLst>
            <pc:docMk/>
            <pc:sldMk cId="3684390708" sldId="637"/>
            <ac:spMk id="2" creationId="{8AD7FAF3-B495-B12F-51B6-1C732E37932A}"/>
          </ac:spMkLst>
        </pc:spChg>
        <pc:picChg chg="add mod">
          <ac:chgData name="Thomas Stensitzki" userId="75cafe6b-2f2a-469b-85c4-eec3b9c972ba" providerId="ADAL" clId="{78A7489F-5177-4675-A072-D65159DC1369}" dt="2022-08-10T10:19:32.878" v="2046" actId="1440"/>
          <ac:picMkLst>
            <pc:docMk/>
            <pc:sldMk cId="3684390708" sldId="637"/>
            <ac:picMk id="13314" creationId="{28A1B060-07BF-91D6-EC68-A4B5542F3A6F}"/>
          </ac:picMkLst>
        </pc:picChg>
      </pc:sldChg>
      <pc:sldChg chg="addSp modSp new mod modNotesTx">
        <pc:chgData name="Thomas Stensitzki" userId="75cafe6b-2f2a-469b-85c4-eec3b9c972ba" providerId="ADAL" clId="{78A7489F-5177-4675-A072-D65159DC1369}" dt="2022-08-10T10:19:38.183" v="2048" actId="1440"/>
        <pc:sldMkLst>
          <pc:docMk/>
          <pc:sldMk cId="3230378298" sldId="638"/>
        </pc:sldMkLst>
        <pc:spChg chg="mod">
          <ac:chgData name="Thomas Stensitzki" userId="75cafe6b-2f2a-469b-85c4-eec3b9c972ba" providerId="ADAL" clId="{78A7489F-5177-4675-A072-D65159DC1369}" dt="2022-08-09T17:32:48.267" v="1461"/>
          <ac:spMkLst>
            <pc:docMk/>
            <pc:sldMk cId="3230378298" sldId="638"/>
            <ac:spMk id="2" creationId="{C00B30E4-8469-4DD5-DBDF-5EA8E430016C}"/>
          </ac:spMkLst>
        </pc:spChg>
        <pc:picChg chg="add mod modCrop">
          <ac:chgData name="Thomas Stensitzki" userId="75cafe6b-2f2a-469b-85c4-eec3b9c972ba" providerId="ADAL" clId="{78A7489F-5177-4675-A072-D65159DC1369}" dt="2022-08-10T10:19:37.110" v="2047" actId="1440"/>
          <ac:picMkLst>
            <pc:docMk/>
            <pc:sldMk cId="3230378298" sldId="638"/>
            <ac:picMk id="3" creationId="{AED65CD1-5427-A047-8A00-5058552CB070}"/>
          </ac:picMkLst>
        </pc:picChg>
        <pc:picChg chg="add mod">
          <ac:chgData name="Thomas Stensitzki" userId="75cafe6b-2f2a-469b-85c4-eec3b9c972ba" providerId="ADAL" clId="{78A7489F-5177-4675-A072-D65159DC1369}" dt="2022-08-10T10:19:38.183" v="2048" actId="1440"/>
          <ac:picMkLst>
            <pc:docMk/>
            <pc:sldMk cId="3230378298" sldId="638"/>
            <ac:picMk id="14338" creationId="{81D2D748-401A-DD86-FBA5-626021E4115D}"/>
          </ac:picMkLst>
        </pc:picChg>
      </pc:sldChg>
      <pc:sldChg chg="del">
        <pc:chgData name="Thomas Stensitzki" userId="75cafe6b-2f2a-469b-85c4-eec3b9c972ba" providerId="ADAL" clId="{78A7489F-5177-4675-A072-D65159DC1369}" dt="2022-08-06T13:56:41.651" v="119" actId="47"/>
        <pc:sldMkLst>
          <pc:docMk/>
          <pc:sldMk cId="2476629680" sldId="639"/>
        </pc:sldMkLst>
      </pc:sldChg>
      <pc:sldChg chg="modSp add mod ord">
        <pc:chgData name="Thomas Stensitzki" userId="75cafe6b-2f2a-469b-85c4-eec3b9c972ba" providerId="ADAL" clId="{78A7489F-5177-4675-A072-D65159DC1369}" dt="2022-08-10T10:24:28.558" v="2148" actId="14100"/>
        <pc:sldMkLst>
          <pc:docMk/>
          <pc:sldMk cId="3465019233" sldId="639"/>
        </pc:sldMkLst>
        <pc:spChg chg="mod">
          <ac:chgData name="Thomas Stensitzki" userId="75cafe6b-2f2a-469b-85c4-eec3b9c972ba" providerId="ADAL" clId="{78A7489F-5177-4675-A072-D65159DC1369}" dt="2022-08-10T10:24:28.558" v="2148" actId="14100"/>
          <ac:spMkLst>
            <pc:docMk/>
            <pc:sldMk cId="3465019233" sldId="639"/>
            <ac:spMk id="2" creationId="{909DC09D-B9A6-4493-9A72-1CA7ECB1F5CA}"/>
          </ac:spMkLst>
        </pc:spChg>
        <pc:spChg chg="mod">
          <ac:chgData name="Thomas Stensitzki" userId="75cafe6b-2f2a-469b-85c4-eec3b9c972ba" providerId="ADAL" clId="{78A7489F-5177-4675-A072-D65159DC1369}" dt="2022-08-10T10:18:03.482" v="2028" actId="255"/>
          <ac:spMkLst>
            <pc:docMk/>
            <pc:sldMk cId="3465019233" sldId="639"/>
            <ac:spMk id="5" creationId="{C24DACB5-1BEC-4C86-9652-BAFD8DE56FEF}"/>
          </ac:spMkLst>
        </pc:spChg>
      </pc:sldChg>
      <pc:sldChg chg="del">
        <pc:chgData name="Thomas Stensitzki" userId="75cafe6b-2f2a-469b-85c4-eec3b9c972ba" providerId="ADAL" clId="{78A7489F-5177-4675-A072-D65159DC1369}" dt="2022-08-06T13:56:41.651" v="119" actId="47"/>
        <pc:sldMkLst>
          <pc:docMk/>
          <pc:sldMk cId="3213284904" sldId="640"/>
        </pc:sldMkLst>
      </pc:sldChg>
      <pc:sldChg chg="addSp delSp modSp add mod ord">
        <pc:chgData name="Thomas Stensitzki" userId="75cafe6b-2f2a-469b-85c4-eec3b9c972ba" providerId="ADAL" clId="{78A7489F-5177-4675-A072-D65159DC1369}" dt="2022-08-10T10:20:15.699" v="2065" actId="1440"/>
        <pc:sldMkLst>
          <pc:docMk/>
          <pc:sldMk cId="3773795940" sldId="640"/>
        </pc:sldMkLst>
        <pc:spChg chg="mod">
          <ac:chgData name="Thomas Stensitzki" userId="75cafe6b-2f2a-469b-85c4-eec3b9c972ba" providerId="ADAL" clId="{78A7489F-5177-4675-A072-D65159DC1369}" dt="2022-08-09T17:34:51.341" v="1483"/>
          <ac:spMkLst>
            <pc:docMk/>
            <pc:sldMk cId="3773795940" sldId="640"/>
            <ac:spMk id="2" creationId="{7B9CA038-772E-31AF-6878-23EE25451115}"/>
          </ac:spMkLst>
        </pc:spChg>
        <pc:spChg chg="add del">
          <ac:chgData name="Thomas Stensitzki" userId="75cafe6b-2f2a-469b-85c4-eec3b9c972ba" providerId="ADAL" clId="{78A7489F-5177-4675-A072-D65159DC1369}" dt="2022-08-09T17:35:02.053" v="1486" actId="22"/>
          <ac:spMkLst>
            <pc:docMk/>
            <pc:sldMk cId="3773795940" sldId="640"/>
            <ac:spMk id="5" creationId="{20F424EA-FED4-029F-6BE2-EB3E3DD3D576}"/>
          </ac:spMkLst>
        </pc:spChg>
        <pc:picChg chg="del">
          <ac:chgData name="Thomas Stensitzki" userId="75cafe6b-2f2a-469b-85c4-eec3b9c972ba" providerId="ADAL" clId="{78A7489F-5177-4675-A072-D65159DC1369}" dt="2022-08-09T17:34:52.957" v="1484" actId="478"/>
          <ac:picMkLst>
            <pc:docMk/>
            <pc:sldMk cId="3773795940" sldId="640"/>
            <ac:picMk id="12290" creationId="{5D10AD02-9E97-E148-BCD3-6BDA04AA4614}"/>
          </ac:picMkLst>
        </pc:picChg>
        <pc:picChg chg="add mod">
          <ac:chgData name="Thomas Stensitzki" userId="75cafe6b-2f2a-469b-85c4-eec3b9c972ba" providerId="ADAL" clId="{78A7489F-5177-4675-A072-D65159DC1369}" dt="2022-08-10T10:20:15.699" v="2065" actId="1440"/>
          <ac:picMkLst>
            <pc:docMk/>
            <pc:sldMk cId="3773795940" sldId="640"/>
            <ac:picMk id="15362" creationId="{0C73AFF8-3CA6-1F5F-6AF1-FE539605AA1A}"/>
          </ac:picMkLst>
        </pc:picChg>
      </pc:sldChg>
      <pc:sldChg chg="addSp delSp modSp add modNotesTx">
        <pc:chgData name="Thomas Stensitzki" userId="75cafe6b-2f2a-469b-85c4-eec3b9c972ba" providerId="ADAL" clId="{78A7489F-5177-4675-A072-D65159DC1369}" dt="2022-08-10T10:20:17.051" v="2066" actId="1440"/>
        <pc:sldMkLst>
          <pc:docMk/>
          <pc:sldMk cId="2087933606" sldId="641"/>
        </pc:sldMkLst>
        <pc:picChg chg="del">
          <ac:chgData name="Thomas Stensitzki" userId="75cafe6b-2f2a-469b-85c4-eec3b9c972ba" providerId="ADAL" clId="{78A7489F-5177-4675-A072-D65159DC1369}" dt="2022-08-09T17:35:50.846" v="1490" actId="478"/>
          <ac:picMkLst>
            <pc:docMk/>
            <pc:sldMk cId="2087933606" sldId="641"/>
            <ac:picMk id="15362" creationId="{0C73AFF8-3CA6-1F5F-6AF1-FE539605AA1A}"/>
          </ac:picMkLst>
        </pc:picChg>
        <pc:picChg chg="add mod">
          <ac:chgData name="Thomas Stensitzki" userId="75cafe6b-2f2a-469b-85c4-eec3b9c972ba" providerId="ADAL" clId="{78A7489F-5177-4675-A072-D65159DC1369}" dt="2022-08-10T10:20:17.051" v="2066" actId="1440"/>
          <ac:picMkLst>
            <pc:docMk/>
            <pc:sldMk cId="2087933606" sldId="641"/>
            <ac:picMk id="16386" creationId="{107AE30F-4C2B-5E72-C69E-7F0DE23FEC51}"/>
          </ac:picMkLst>
        </pc:picChg>
      </pc:sldChg>
      <pc:sldChg chg="del">
        <pc:chgData name="Thomas Stensitzki" userId="75cafe6b-2f2a-469b-85c4-eec3b9c972ba" providerId="ADAL" clId="{78A7489F-5177-4675-A072-D65159DC1369}" dt="2022-08-06T13:56:41.651" v="119" actId="47"/>
        <pc:sldMkLst>
          <pc:docMk/>
          <pc:sldMk cId="2520872566" sldId="641"/>
        </pc:sldMkLst>
      </pc:sldChg>
      <pc:sldChg chg="del">
        <pc:chgData name="Thomas Stensitzki" userId="75cafe6b-2f2a-469b-85c4-eec3b9c972ba" providerId="ADAL" clId="{78A7489F-5177-4675-A072-D65159DC1369}" dt="2022-08-06T13:56:41.651" v="119" actId="47"/>
        <pc:sldMkLst>
          <pc:docMk/>
          <pc:sldMk cId="1280337819" sldId="642"/>
        </pc:sldMkLst>
      </pc:sldChg>
      <pc:sldChg chg="addSp delSp modSp new mod">
        <pc:chgData name="Thomas Stensitzki" userId="75cafe6b-2f2a-469b-85c4-eec3b9c972ba" providerId="ADAL" clId="{78A7489F-5177-4675-A072-D65159DC1369}" dt="2022-08-10T10:19:41.044" v="2049" actId="1440"/>
        <pc:sldMkLst>
          <pc:docMk/>
          <pc:sldMk cId="1502932586" sldId="642"/>
        </pc:sldMkLst>
        <pc:spChg chg="mod">
          <ac:chgData name="Thomas Stensitzki" userId="75cafe6b-2f2a-469b-85c4-eec3b9c972ba" providerId="ADAL" clId="{78A7489F-5177-4675-A072-D65159DC1369}" dt="2022-08-09T17:38:34.626" v="1523"/>
          <ac:spMkLst>
            <pc:docMk/>
            <pc:sldMk cId="1502932586" sldId="642"/>
            <ac:spMk id="2" creationId="{B30EF01B-F4E2-9138-B17C-E0DDDD1E9BD8}"/>
          </ac:spMkLst>
        </pc:spChg>
        <pc:picChg chg="add del mod">
          <ac:chgData name="Thomas Stensitzki" userId="75cafe6b-2f2a-469b-85c4-eec3b9c972ba" providerId="ADAL" clId="{78A7489F-5177-4675-A072-D65159DC1369}" dt="2022-08-09T17:39:21.595" v="1535"/>
          <ac:picMkLst>
            <pc:docMk/>
            <pc:sldMk cId="1502932586" sldId="642"/>
            <ac:picMk id="17410" creationId="{DB35C899-91CB-0E00-13BF-DE340A62254E}"/>
          </ac:picMkLst>
        </pc:picChg>
        <pc:picChg chg="add mod">
          <ac:chgData name="Thomas Stensitzki" userId="75cafe6b-2f2a-469b-85c4-eec3b9c972ba" providerId="ADAL" clId="{78A7489F-5177-4675-A072-D65159DC1369}" dt="2022-08-10T10:19:41.044" v="2049" actId="1440"/>
          <ac:picMkLst>
            <pc:docMk/>
            <pc:sldMk cId="1502932586" sldId="642"/>
            <ac:picMk id="17412" creationId="{5501A948-1CA2-59B2-FEAB-2DEC0D688656}"/>
          </ac:picMkLst>
        </pc:picChg>
      </pc:sldChg>
      <pc:sldChg chg="del">
        <pc:chgData name="Thomas Stensitzki" userId="75cafe6b-2f2a-469b-85c4-eec3b9c972ba" providerId="ADAL" clId="{78A7489F-5177-4675-A072-D65159DC1369}" dt="2022-08-06T13:56:41.651" v="119" actId="47"/>
        <pc:sldMkLst>
          <pc:docMk/>
          <pc:sldMk cId="2743587653" sldId="643"/>
        </pc:sldMkLst>
      </pc:sldChg>
      <pc:sldChg chg="addSp delSp modSp add mod modAnim">
        <pc:chgData name="Thomas Stensitzki" userId="75cafe6b-2f2a-469b-85c4-eec3b9c972ba" providerId="ADAL" clId="{78A7489F-5177-4675-A072-D65159DC1369}" dt="2022-08-10T10:22:24.175" v="2108"/>
        <pc:sldMkLst>
          <pc:docMk/>
          <pc:sldMk cId="2913103850" sldId="643"/>
        </pc:sldMkLst>
        <pc:spChg chg="mod">
          <ac:chgData name="Thomas Stensitzki" userId="75cafe6b-2f2a-469b-85c4-eec3b9c972ba" providerId="ADAL" clId="{78A7489F-5177-4675-A072-D65159DC1369}" dt="2022-08-09T17:40:36.839" v="1546"/>
          <ac:spMkLst>
            <pc:docMk/>
            <pc:sldMk cId="2913103850" sldId="643"/>
            <ac:spMk id="2" creationId="{B30EF01B-F4E2-9138-B17C-E0DDDD1E9BD8}"/>
          </ac:spMkLst>
        </pc:spChg>
        <pc:picChg chg="del">
          <ac:chgData name="Thomas Stensitzki" userId="75cafe6b-2f2a-469b-85c4-eec3b9c972ba" providerId="ADAL" clId="{78A7489F-5177-4675-A072-D65159DC1369}" dt="2022-08-09T17:40:37.943" v="1547" actId="478"/>
          <ac:picMkLst>
            <pc:docMk/>
            <pc:sldMk cId="2913103850" sldId="643"/>
            <ac:picMk id="17412" creationId="{5501A948-1CA2-59B2-FEAB-2DEC0D688656}"/>
          </ac:picMkLst>
        </pc:picChg>
        <pc:picChg chg="add mod">
          <ac:chgData name="Thomas Stensitzki" userId="75cafe6b-2f2a-469b-85c4-eec3b9c972ba" providerId="ADAL" clId="{78A7489F-5177-4675-A072-D65159DC1369}" dt="2022-08-10T10:19:43.105" v="2050" actId="1440"/>
          <ac:picMkLst>
            <pc:docMk/>
            <pc:sldMk cId="2913103850" sldId="643"/>
            <ac:picMk id="18434" creationId="{58BD7D2C-A90F-A234-9FEF-D1235924C0FA}"/>
          </ac:picMkLst>
        </pc:picChg>
        <pc:picChg chg="add mod">
          <ac:chgData name="Thomas Stensitzki" userId="75cafe6b-2f2a-469b-85c4-eec3b9c972ba" providerId="ADAL" clId="{78A7489F-5177-4675-A072-D65159DC1369}" dt="2022-08-10T10:19:44.172" v="2051" actId="1440"/>
          <ac:picMkLst>
            <pc:docMk/>
            <pc:sldMk cId="2913103850" sldId="643"/>
            <ac:picMk id="18436" creationId="{ADF4A651-1207-C487-BAF2-BD4956731BED}"/>
          </ac:picMkLst>
        </pc:picChg>
      </pc:sldChg>
      <pc:sldChg chg="addSp delSp modSp add">
        <pc:chgData name="Thomas Stensitzki" userId="75cafe6b-2f2a-469b-85c4-eec3b9c972ba" providerId="ADAL" clId="{78A7489F-5177-4675-A072-D65159DC1369}" dt="2022-08-10T10:19:46.572" v="2052" actId="1440"/>
        <pc:sldMkLst>
          <pc:docMk/>
          <pc:sldMk cId="942581030" sldId="644"/>
        </pc:sldMkLst>
        <pc:picChg chg="del">
          <ac:chgData name="Thomas Stensitzki" userId="75cafe6b-2f2a-469b-85c4-eec3b9c972ba" providerId="ADAL" clId="{78A7489F-5177-4675-A072-D65159DC1369}" dt="2022-08-09T17:41:23.118" v="1555" actId="478"/>
          <ac:picMkLst>
            <pc:docMk/>
            <pc:sldMk cId="942581030" sldId="644"/>
            <ac:picMk id="18434" creationId="{58BD7D2C-A90F-A234-9FEF-D1235924C0FA}"/>
          </ac:picMkLst>
        </pc:picChg>
        <pc:picChg chg="del">
          <ac:chgData name="Thomas Stensitzki" userId="75cafe6b-2f2a-469b-85c4-eec3b9c972ba" providerId="ADAL" clId="{78A7489F-5177-4675-A072-D65159DC1369}" dt="2022-08-09T17:41:23.897" v="1556" actId="478"/>
          <ac:picMkLst>
            <pc:docMk/>
            <pc:sldMk cId="942581030" sldId="644"/>
            <ac:picMk id="18436" creationId="{ADF4A651-1207-C487-BAF2-BD4956731BED}"/>
          </ac:picMkLst>
        </pc:picChg>
        <pc:picChg chg="add mod">
          <ac:chgData name="Thomas Stensitzki" userId="75cafe6b-2f2a-469b-85c4-eec3b9c972ba" providerId="ADAL" clId="{78A7489F-5177-4675-A072-D65159DC1369}" dt="2022-08-10T10:19:46.572" v="2052" actId="1440"/>
          <ac:picMkLst>
            <pc:docMk/>
            <pc:sldMk cId="942581030" sldId="644"/>
            <ac:picMk id="19458" creationId="{A27D1A30-4B7E-7A65-688E-FB44556D3BAA}"/>
          </ac:picMkLst>
        </pc:picChg>
      </pc:sldChg>
      <pc:sldChg chg="del">
        <pc:chgData name="Thomas Stensitzki" userId="75cafe6b-2f2a-469b-85c4-eec3b9c972ba" providerId="ADAL" clId="{78A7489F-5177-4675-A072-D65159DC1369}" dt="2022-08-06T13:56:41.651" v="119" actId="47"/>
        <pc:sldMkLst>
          <pc:docMk/>
          <pc:sldMk cId="3061187211" sldId="644"/>
        </pc:sldMkLst>
      </pc:sldChg>
      <pc:sldChg chg="del">
        <pc:chgData name="Thomas Stensitzki" userId="75cafe6b-2f2a-469b-85c4-eec3b9c972ba" providerId="ADAL" clId="{78A7489F-5177-4675-A072-D65159DC1369}" dt="2022-08-06T13:56:41.651" v="119" actId="47"/>
        <pc:sldMkLst>
          <pc:docMk/>
          <pc:sldMk cId="2023922211" sldId="645"/>
        </pc:sldMkLst>
      </pc:sldChg>
      <pc:sldChg chg="addSp delSp modSp add mod modNotesTx">
        <pc:chgData name="Thomas Stensitzki" userId="75cafe6b-2f2a-469b-85c4-eec3b9c972ba" providerId="ADAL" clId="{78A7489F-5177-4675-A072-D65159DC1369}" dt="2022-08-10T10:19:54.107" v="2053" actId="1440"/>
        <pc:sldMkLst>
          <pc:docMk/>
          <pc:sldMk cId="2729172580" sldId="645"/>
        </pc:sldMkLst>
        <pc:spChg chg="mod">
          <ac:chgData name="Thomas Stensitzki" userId="75cafe6b-2f2a-469b-85c4-eec3b9c972ba" providerId="ADAL" clId="{78A7489F-5177-4675-A072-D65159DC1369}" dt="2022-08-09T17:43:39.330" v="1588"/>
          <ac:spMkLst>
            <pc:docMk/>
            <pc:sldMk cId="2729172580" sldId="645"/>
            <ac:spMk id="2" creationId="{B30EF01B-F4E2-9138-B17C-E0DDDD1E9BD8}"/>
          </ac:spMkLst>
        </pc:spChg>
        <pc:picChg chg="del">
          <ac:chgData name="Thomas Stensitzki" userId="75cafe6b-2f2a-469b-85c4-eec3b9c972ba" providerId="ADAL" clId="{78A7489F-5177-4675-A072-D65159DC1369}" dt="2022-08-09T17:43:35.987" v="1587" actId="478"/>
          <ac:picMkLst>
            <pc:docMk/>
            <pc:sldMk cId="2729172580" sldId="645"/>
            <ac:picMk id="19458" creationId="{A27D1A30-4B7E-7A65-688E-FB44556D3BAA}"/>
          </ac:picMkLst>
        </pc:picChg>
        <pc:picChg chg="add mod">
          <ac:chgData name="Thomas Stensitzki" userId="75cafe6b-2f2a-469b-85c4-eec3b9c972ba" providerId="ADAL" clId="{78A7489F-5177-4675-A072-D65159DC1369}" dt="2022-08-10T10:19:54.107" v="2053" actId="1440"/>
          <ac:picMkLst>
            <pc:docMk/>
            <pc:sldMk cId="2729172580" sldId="645"/>
            <ac:picMk id="20482" creationId="{FF375F31-E1A6-A28E-4AC7-0D8F7899DE42}"/>
          </ac:picMkLst>
        </pc:picChg>
      </pc:sldChg>
      <pc:sldChg chg="addSp delSp modSp add">
        <pc:chgData name="Thomas Stensitzki" userId="75cafe6b-2f2a-469b-85c4-eec3b9c972ba" providerId="ADAL" clId="{78A7489F-5177-4675-A072-D65159DC1369}" dt="2022-08-10T10:19:55.794" v="2054" actId="1440"/>
        <pc:sldMkLst>
          <pc:docMk/>
          <pc:sldMk cId="295227728" sldId="646"/>
        </pc:sldMkLst>
        <pc:picChg chg="del">
          <ac:chgData name="Thomas Stensitzki" userId="75cafe6b-2f2a-469b-85c4-eec3b9c972ba" providerId="ADAL" clId="{78A7489F-5177-4675-A072-D65159DC1369}" dt="2022-08-09T17:44:10.840" v="1594" actId="478"/>
          <ac:picMkLst>
            <pc:docMk/>
            <pc:sldMk cId="295227728" sldId="646"/>
            <ac:picMk id="20482" creationId="{FF375F31-E1A6-A28E-4AC7-0D8F7899DE42}"/>
          </ac:picMkLst>
        </pc:picChg>
        <pc:picChg chg="add mod">
          <ac:chgData name="Thomas Stensitzki" userId="75cafe6b-2f2a-469b-85c4-eec3b9c972ba" providerId="ADAL" clId="{78A7489F-5177-4675-A072-D65159DC1369}" dt="2022-08-10T10:19:55.794" v="2054" actId="1440"/>
          <ac:picMkLst>
            <pc:docMk/>
            <pc:sldMk cId="295227728" sldId="646"/>
            <ac:picMk id="21506" creationId="{2E03E48E-6309-9518-DCBC-90D946D68063}"/>
          </ac:picMkLst>
        </pc:picChg>
      </pc:sldChg>
      <pc:sldChg chg="del">
        <pc:chgData name="Thomas Stensitzki" userId="75cafe6b-2f2a-469b-85c4-eec3b9c972ba" providerId="ADAL" clId="{78A7489F-5177-4675-A072-D65159DC1369}" dt="2022-08-06T13:57:09.138" v="123" actId="47"/>
        <pc:sldMkLst>
          <pc:docMk/>
          <pc:sldMk cId="4232995729" sldId="646"/>
        </pc:sldMkLst>
      </pc:sldChg>
      <pc:sldChg chg="addSp delSp modSp new mod modClrScheme chgLayout">
        <pc:chgData name="Thomas Stensitzki" userId="75cafe6b-2f2a-469b-85c4-eec3b9c972ba" providerId="ADAL" clId="{78A7489F-5177-4675-A072-D65159DC1369}" dt="2022-08-10T10:16:42.993" v="2015" actId="20577"/>
        <pc:sldMkLst>
          <pc:docMk/>
          <pc:sldMk cId="3764594880" sldId="647"/>
        </pc:sldMkLst>
        <pc:spChg chg="del mod ord">
          <ac:chgData name="Thomas Stensitzki" userId="75cafe6b-2f2a-469b-85c4-eec3b9c972ba" providerId="ADAL" clId="{78A7489F-5177-4675-A072-D65159DC1369}" dt="2022-08-10T10:16:40.849" v="2011" actId="700"/>
          <ac:spMkLst>
            <pc:docMk/>
            <pc:sldMk cId="3764594880" sldId="647"/>
            <ac:spMk id="2" creationId="{0D36720E-B4D5-3419-0E09-A9A4476198A2}"/>
          </ac:spMkLst>
        </pc:spChg>
        <pc:spChg chg="del mod ord">
          <ac:chgData name="Thomas Stensitzki" userId="75cafe6b-2f2a-469b-85c4-eec3b9c972ba" providerId="ADAL" clId="{78A7489F-5177-4675-A072-D65159DC1369}" dt="2022-08-10T10:16:40.849" v="2011" actId="700"/>
          <ac:spMkLst>
            <pc:docMk/>
            <pc:sldMk cId="3764594880" sldId="647"/>
            <ac:spMk id="3" creationId="{2189C057-EBFE-6073-6593-35C95B066789}"/>
          </ac:spMkLst>
        </pc:spChg>
        <pc:spChg chg="add mod ord">
          <ac:chgData name="Thomas Stensitzki" userId="75cafe6b-2f2a-469b-85c4-eec3b9c972ba" providerId="ADAL" clId="{78A7489F-5177-4675-A072-D65159DC1369}" dt="2022-08-10T10:16:42.993" v="2015" actId="20577"/>
          <ac:spMkLst>
            <pc:docMk/>
            <pc:sldMk cId="3764594880" sldId="647"/>
            <ac:spMk id="4" creationId="{3B6FAC27-3ED8-4466-5AA3-7B53C80EC4B1}"/>
          </ac:spMkLst>
        </pc:spChg>
        <pc:spChg chg="add mod ord">
          <ac:chgData name="Thomas Stensitzki" userId="75cafe6b-2f2a-469b-85c4-eec3b9c972ba" providerId="ADAL" clId="{78A7489F-5177-4675-A072-D65159DC1369}" dt="2022-08-10T10:16:40.849" v="2011" actId="700"/>
          <ac:spMkLst>
            <pc:docMk/>
            <pc:sldMk cId="3764594880" sldId="647"/>
            <ac:spMk id="5" creationId="{46DBDD81-7724-629C-A70D-41D41678B477}"/>
          </ac:spMkLst>
        </pc:spChg>
      </pc:sldChg>
      <pc:sldChg chg="modSp add mod ord">
        <pc:chgData name="Thomas Stensitzki" userId="75cafe6b-2f2a-469b-85c4-eec3b9c972ba" providerId="ADAL" clId="{78A7489F-5177-4675-A072-D65159DC1369}" dt="2022-08-10T10:18:28.859" v="2033" actId="1076"/>
        <pc:sldMkLst>
          <pc:docMk/>
          <pc:sldMk cId="1091040638" sldId="648"/>
        </pc:sldMkLst>
        <pc:spChg chg="mod">
          <ac:chgData name="Thomas Stensitzki" userId="75cafe6b-2f2a-469b-85c4-eec3b9c972ba" providerId="ADAL" clId="{78A7489F-5177-4675-A072-D65159DC1369}" dt="2022-08-10T10:18:28.859" v="2033" actId="1076"/>
          <ac:spMkLst>
            <pc:docMk/>
            <pc:sldMk cId="1091040638" sldId="648"/>
            <ac:spMk id="2" creationId="{909DC09D-B9A6-4493-9A72-1CA7ECB1F5CA}"/>
          </ac:spMkLst>
        </pc:spChg>
      </pc:sldChg>
      <pc:sldChg chg="add del">
        <pc:chgData name="Thomas Stensitzki" userId="75cafe6b-2f2a-469b-85c4-eec3b9c972ba" providerId="ADAL" clId="{78A7489F-5177-4675-A072-D65159DC1369}" dt="2022-08-06T13:57:05.154" v="122" actId="47"/>
        <pc:sldMkLst>
          <pc:docMk/>
          <pc:sldMk cId="1507941917" sldId="648"/>
        </pc:sldMkLst>
      </pc:sldChg>
      <pc:sldChg chg="add del">
        <pc:chgData name="Thomas Stensitzki" userId="75cafe6b-2f2a-469b-85c4-eec3b9c972ba" providerId="ADAL" clId="{78A7489F-5177-4675-A072-D65159DC1369}" dt="2022-08-10T10:16:56.553" v="2017"/>
        <pc:sldMkLst>
          <pc:docMk/>
          <pc:sldMk cId="3284917679" sldId="648"/>
        </pc:sldMkLst>
      </pc:sldChg>
      <pc:sldChg chg="add del">
        <pc:chgData name="Thomas Stensitzki" userId="75cafe6b-2f2a-469b-85c4-eec3b9c972ba" providerId="ADAL" clId="{78A7489F-5177-4675-A072-D65159DC1369}" dt="2022-08-06T13:57:05.154" v="122" actId="47"/>
        <pc:sldMkLst>
          <pc:docMk/>
          <pc:sldMk cId="1632744645" sldId="649"/>
        </pc:sldMkLst>
      </pc:sldChg>
      <pc:sldChg chg="modSp add mod">
        <pc:chgData name="Thomas Stensitzki" userId="75cafe6b-2f2a-469b-85c4-eec3b9c972ba" providerId="ADAL" clId="{78A7489F-5177-4675-A072-D65159DC1369}" dt="2022-08-10T10:18:45.288" v="2036" actId="14100"/>
        <pc:sldMkLst>
          <pc:docMk/>
          <pc:sldMk cId="2369649432" sldId="649"/>
        </pc:sldMkLst>
        <pc:spChg chg="mod">
          <ac:chgData name="Thomas Stensitzki" userId="75cafe6b-2f2a-469b-85c4-eec3b9c972ba" providerId="ADAL" clId="{78A7489F-5177-4675-A072-D65159DC1369}" dt="2022-08-10T10:18:45.288" v="2036" actId="14100"/>
          <ac:spMkLst>
            <pc:docMk/>
            <pc:sldMk cId="2369649432" sldId="649"/>
            <ac:spMk id="2" creationId="{909DC09D-B9A6-4493-9A72-1CA7ECB1F5CA}"/>
          </ac:spMkLst>
        </pc:spChg>
      </pc:sldChg>
      <pc:sldChg chg="add del">
        <pc:chgData name="Thomas Stensitzki" userId="75cafe6b-2f2a-469b-85c4-eec3b9c972ba" providerId="ADAL" clId="{78A7489F-5177-4675-A072-D65159DC1369}" dt="2022-08-06T13:57:05.154" v="122" actId="47"/>
        <pc:sldMkLst>
          <pc:docMk/>
          <pc:sldMk cId="2904891794" sldId="650"/>
        </pc:sldMkLst>
      </pc:sldChg>
      <pc:sldChg chg="modSp add mod">
        <pc:chgData name="Thomas Stensitzki" userId="75cafe6b-2f2a-469b-85c4-eec3b9c972ba" providerId="ADAL" clId="{78A7489F-5177-4675-A072-D65159DC1369}" dt="2022-08-10T10:18:59.003" v="2038" actId="1076"/>
        <pc:sldMkLst>
          <pc:docMk/>
          <pc:sldMk cId="4292684490" sldId="650"/>
        </pc:sldMkLst>
        <pc:spChg chg="mod">
          <ac:chgData name="Thomas Stensitzki" userId="75cafe6b-2f2a-469b-85c4-eec3b9c972ba" providerId="ADAL" clId="{78A7489F-5177-4675-A072-D65159DC1369}" dt="2022-08-10T10:18:59.003" v="2038" actId="1076"/>
          <ac:spMkLst>
            <pc:docMk/>
            <pc:sldMk cId="4292684490" sldId="650"/>
            <ac:spMk id="2" creationId="{909DC09D-B9A6-4493-9A72-1CA7ECB1F5CA}"/>
          </ac:spMkLst>
        </pc:spChg>
      </pc:sldChg>
      <pc:sldChg chg="modSp add mod ord">
        <pc:chgData name="Thomas Stensitzki" userId="75cafe6b-2f2a-469b-85c4-eec3b9c972ba" providerId="ADAL" clId="{78A7489F-5177-4675-A072-D65159DC1369}" dt="2022-08-10T10:20:49.668" v="2077" actId="14100"/>
        <pc:sldMkLst>
          <pc:docMk/>
          <pc:sldMk cId="324892990" sldId="651"/>
        </pc:sldMkLst>
        <pc:spChg chg="mod">
          <ac:chgData name="Thomas Stensitzki" userId="75cafe6b-2f2a-469b-85c4-eec3b9c972ba" providerId="ADAL" clId="{78A7489F-5177-4675-A072-D65159DC1369}" dt="2022-08-10T10:20:49.668" v="2077" actId="14100"/>
          <ac:spMkLst>
            <pc:docMk/>
            <pc:sldMk cId="324892990" sldId="651"/>
            <ac:spMk id="2" creationId="{909DC09D-B9A6-4493-9A72-1CA7ECB1F5CA}"/>
          </ac:spMkLst>
        </pc:spChg>
      </pc:sldChg>
      <pc:sldChg chg="add del">
        <pc:chgData name="Thomas Stensitzki" userId="75cafe6b-2f2a-469b-85c4-eec3b9c972ba" providerId="ADAL" clId="{78A7489F-5177-4675-A072-D65159DC1369}" dt="2022-08-06T13:57:05.154" v="122" actId="47"/>
        <pc:sldMkLst>
          <pc:docMk/>
          <pc:sldMk cId="448268979" sldId="651"/>
        </pc:sldMkLst>
      </pc:sldChg>
      <pc:sldChg chg="modSp add mod ord">
        <pc:chgData name="Thomas Stensitzki" userId="75cafe6b-2f2a-469b-85c4-eec3b9c972ba" providerId="ADAL" clId="{78A7489F-5177-4675-A072-D65159DC1369}" dt="2022-08-10T10:21:29.183" v="2086" actId="1076"/>
        <pc:sldMkLst>
          <pc:docMk/>
          <pc:sldMk cId="2700638492" sldId="652"/>
        </pc:sldMkLst>
        <pc:spChg chg="mod">
          <ac:chgData name="Thomas Stensitzki" userId="75cafe6b-2f2a-469b-85c4-eec3b9c972ba" providerId="ADAL" clId="{78A7489F-5177-4675-A072-D65159DC1369}" dt="2022-08-10T10:21:29.183" v="2086" actId="1076"/>
          <ac:spMkLst>
            <pc:docMk/>
            <pc:sldMk cId="2700638492" sldId="652"/>
            <ac:spMk id="2" creationId="{909DC09D-B9A6-4493-9A72-1CA7ECB1F5CA}"/>
          </ac:spMkLst>
        </pc:spChg>
      </pc:sldChg>
      <pc:sldChg chg="modSp add mod ord">
        <pc:chgData name="Thomas Stensitzki" userId="75cafe6b-2f2a-469b-85c4-eec3b9c972ba" providerId="ADAL" clId="{78A7489F-5177-4675-A072-D65159DC1369}" dt="2022-08-10T10:21:49.889" v="2092" actId="1076"/>
        <pc:sldMkLst>
          <pc:docMk/>
          <pc:sldMk cId="1379297492" sldId="653"/>
        </pc:sldMkLst>
        <pc:spChg chg="mod">
          <ac:chgData name="Thomas Stensitzki" userId="75cafe6b-2f2a-469b-85c4-eec3b9c972ba" providerId="ADAL" clId="{78A7489F-5177-4675-A072-D65159DC1369}" dt="2022-08-10T10:21:49.889" v="2092" actId="1076"/>
          <ac:spMkLst>
            <pc:docMk/>
            <pc:sldMk cId="1379297492" sldId="653"/>
            <ac:spMk id="2" creationId="{909DC09D-B9A6-4493-9A72-1CA7ECB1F5CA}"/>
          </ac:spMkLst>
        </pc:spChg>
      </pc:sldChg>
      <pc:sldChg chg="modSp add mod">
        <pc:chgData name="Thomas Stensitzki" userId="75cafe6b-2f2a-469b-85c4-eec3b9c972ba" providerId="ADAL" clId="{78A7489F-5177-4675-A072-D65159DC1369}" dt="2022-08-10T10:21:44.270" v="2091" actId="1076"/>
        <pc:sldMkLst>
          <pc:docMk/>
          <pc:sldMk cId="20870858" sldId="654"/>
        </pc:sldMkLst>
        <pc:spChg chg="mod">
          <ac:chgData name="Thomas Stensitzki" userId="75cafe6b-2f2a-469b-85c4-eec3b9c972ba" providerId="ADAL" clId="{78A7489F-5177-4675-A072-D65159DC1369}" dt="2022-08-10T10:21:44.270" v="2091" actId="1076"/>
          <ac:spMkLst>
            <pc:docMk/>
            <pc:sldMk cId="20870858" sldId="654"/>
            <ac:spMk id="2" creationId="{909DC09D-B9A6-4493-9A72-1CA7ECB1F5CA}"/>
          </ac:spMkLst>
        </pc:spChg>
      </pc:sldChg>
      <pc:sldChg chg="modSp add mod ord">
        <pc:chgData name="Thomas Stensitzki" userId="75cafe6b-2f2a-469b-85c4-eec3b9c972ba" providerId="ADAL" clId="{78A7489F-5177-4675-A072-D65159DC1369}" dt="2022-08-10T10:21:58.835" v="2096" actId="1076"/>
        <pc:sldMkLst>
          <pc:docMk/>
          <pc:sldMk cId="4081057211" sldId="655"/>
        </pc:sldMkLst>
        <pc:spChg chg="mod">
          <ac:chgData name="Thomas Stensitzki" userId="75cafe6b-2f2a-469b-85c4-eec3b9c972ba" providerId="ADAL" clId="{78A7489F-5177-4675-A072-D65159DC1369}" dt="2022-08-10T10:21:58.835" v="2096" actId="1076"/>
          <ac:spMkLst>
            <pc:docMk/>
            <pc:sldMk cId="4081057211" sldId="655"/>
            <ac:spMk id="2" creationId="{909DC09D-B9A6-4493-9A72-1CA7ECB1F5CA}"/>
          </ac:spMkLst>
        </pc:spChg>
      </pc:sldChg>
      <pc:sldChg chg="modSp add mod ord">
        <pc:chgData name="Thomas Stensitzki" userId="75cafe6b-2f2a-469b-85c4-eec3b9c972ba" providerId="ADAL" clId="{78A7489F-5177-4675-A072-D65159DC1369}" dt="2022-08-10T10:22:06.738" v="2100" actId="1076"/>
        <pc:sldMkLst>
          <pc:docMk/>
          <pc:sldMk cId="2870420379" sldId="656"/>
        </pc:sldMkLst>
        <pc:spChg chg="mod">
          <ac:chgData name="Thomas Stensitzki" userId="75cafe6b-2f2a-469b-85c4-eec3b9c972ba" providerId="ADAL" clId="{78A7489F-5177-4675-A072-D65159DC1369}" dt="2022-08-10T10:22:06.738" v="2100" actId="1076"/>
          <ac:spMkLst>
            <pc:docMk/>
            <pc:sldMk cId="2870420379" sldId="656"/>
            <ac:spMk id="2" creationId="{909DC09D-B9A6-4493-9A72-1CA7ECB1F5CA}"/>
          </ac:spMkLst>
        </pc:spChg>
      </pc:sldChg>
      <pc:sldChg chg="modSp add mod ord">
        <pc:chgData name="Thomas Stensitzki" userId="75cafe6b-2f2a-469b-85c4-eec3b9c972ba" providerId="ADAL" clId="{78A7489F-5177-4675-A072-D65159DC1369}" dt="2022-08-10T10:22:15.464" v="2104" actId="1076"/>
        <pc:sldMkLst>
          <pc:docMk/>
          <pc:sldMk cId="1841510030" sldId="657"/>
        </pc:sldMkLst>
        <pc:spChg chg="mod">
          <ac:chgData name="Thomas Stensitzki" userId="75cafe6b-2f2a-469b-85c4-eec3b9c972ba" providerId="ADAL" clId="{78A7489F-5177-4675-A072-D65159DC1369}" dt="2022-08-10T10:22:15.464" v="2104" actId="1076"/>
          <ac:spMkLst>
            <pc:docMk/>
            <pc:sldMk cId="1841510030" sldId="657"/>
            <ac:spMk id="2" creationId="{909DC09D-B9A6-4493-9A72-1CA7ECB1F5CA}"/>
          </ac:spMkLst>
        </pc:spChg>
      </pc:sldChg>
      <pc:sldChg chg="modSp add mod ord">
        <pc:chgData name="Thomas Stensitzki" userId="75cafe6b-2f2a-469b-85c4-eec3b9c972ba" providerId="ADAL" clId="{78A7489F-5177-4675-A072-D65159DC1369}" dt="2022-08-10T10:22:47.881" v="2109" actId="1076"/>
        <pc:sldMkLst>
          <pc:docMk/>
          <pc:sldMk cId="3337092959" sldId="658"/>
        </pc:sldMkLst>
        <pc:spChg chg="mod">
          <ac:chgData name="Thomas Stensitzki" userId="75cafe6b-2f2a-469b-85c4-eec3b9c972ba" providerId="ADAL" clId="{78A7489F-5177-4675-A072-D65159DC1369}" dt="2022-08-10T10:22:47.881" v="2109" actId="1076"/>
          <ac:spMkLst>
            <pc:docMk/>
            <pc:sldMk cId="3337092959" sldId="658"/>
            <ac:spMk id="2" creationId="{909DC09D-B9A6-4493-9A72-1CA7ECB1F5CA}"/>
          </ac:spMkLst>
        </pc:spChg>
      </pc:sldChg>
      <pc:sldChg chg="modSp add mod ord">
        <pc:chgData name="Thomas Stensitzki" userId="75cafe6b-2f2a-469b-85c4-eec3b9c972ba" providerId="ADAL" clId="{78A7489F-5177-4675-A072-D65159DC1369}" dt="2022-08-10T10:23:17.660" v="2123" actId="20577"/>
        <pc:sldMkLst>
          <pc:docMk/>
          <pc:sldMk cId="1962477249" sldId="659"/>
        </pc:sldMkLst>
        <pc:spChg chg="mod">
          <ac:chgData name="Thomas Stensitzki" userId="75cafe6b-2f2a-469b-85c4-eec3b9c972ba" providerId="ADAL" clId="{78A7489F-5177-4675-A072-D65159DC1369}" dt="2022-08-10T10:23:17.660" v="2123" actId="20577"/>
          <ac:spMkLst>
            <pc:docMk/>
            <pc:sldMk cId="1962477249" sldId="659"/>
            <ac:spMk id="4" creationId="{F3A15CBD-C746-44A3-A4F0-4898CE2F02E6}"/>
          </ac:spMkLst>
        </pc:spChg>
      </pc:sldChg>
      <pc:sldChg chg="modSp add mod ord">
        <pc:chgData name="Thomas Stensitzki" userId="75cafe6b-2f2a-469b-85c4-eec3b9c972ba" providerId="ADAL" clId="{78A7489F-5177-4675-A072-D65159DC1369}" dt="2022-08-10T10:23:38.044" v="2130" actId="14100"/>
        <pc:sldMkLst>
          <pc:docMk/>
          <pc:sldMk cId="1061161082" sldId="660"/>
        </pc:sldMkLst>
        <pc:spChg chg="mod">
          <ac:chgData name="Thomas Stensitzki" userId="75cafe6b-2f2a-469b-85c4-eec3b9c972ba" providerId="ADAL" clId="{78A7489F-5177-4675-A072-D65159DC1369}" dt="2022-08-10T10:23:38.044" v="2130" actId="14100"/>
          <ac:spMkLst>
            <pc:docMk/>
            <pc:sldMk cId="1061161082" sldId="660"/>
            <ac:spMk id="2" creationId="{909DC09D-B9A6-4493-9A72-1CA7ECB1F5CA}"/>
          </ac:spMkLst>
        </pc:spChg>
      </pc:sldChg>
      <pc:sldChg chg="modSp add mod ord">
        <pc:chgData name="Thomas Stensitzki" userId="75cafe6b-2f2a-469b-85c4-eec3b9c972ba" providerId="ADAL" clId="{78A7489F-5177-4675-A072-D65159DC1369}" dt="2022-08-10T10:23:44.308" v="2134" actId="1076"/>
        <pc:sldMkLst>
          <pc:docMk/>
          <pc:sldMk cId="2497496185" sldId="661"/>
        </pc:sldMkLst>
        <pc:spChg chg="mod">
          <ac:chgData name="Thomas Stensitzki" userId="75cafe6b-2f2a-469b-85c4-eec3b9c972ba" providerId="ADAL" clId="{78A7489F-5177-4675-A072-D65159DC1369}" dt="2022-08-10T10:23:44.308" v="2134" actId="1076"/>
          <ac:spMkLst>
            <pc:docMk/>
            <pc:sldMk cId="2497496185" sldId="661"/>
            <ac:spMk id="2" creationId="{909DC09D-B9A6-4493-9A72-1CA7ECB1F5CA}"/>
          </ac:spMkLst>
        </pc:spChg>
      </pc:sldChg>
      <pc:sldChg chg="modSp add mod ord">
        <pc:chgData name="Thomas Stensitzki" userId="75cafe6b-2f2a-469b-85c4-eec3b9c972ba" providerId="ADAL" clId="{78A7489F-5177-4675-A072-D65159DC1369}" dt="2022-08-10T10:23:53.045" v="2138" actId="1076"/>
        <pc:sldMkLst>
          <pc:docMk/>
          <pc:sldMk cId="301037216" sldId="662"/>
        </pc:sldMkLst>
        <pc:spChg chg="mod">
          <ac:chgData name="Thomas Stensitzki" userId="75cafe6b-2f2a-469b-85c4-eec3b9c972ba" providerId="ADAL" clId="{78A7489F-5177-4675-A072-D65159DC1369}" dt="2022-08-10T10:23:53.045" v="2138" actId="1076"/>
          <ac:spMkLst>
            <pc:docMk/>
            <pc:sldMk cId="301037216" sldId="662"/>
            <ac:spMk id="2" creationId="{909DC09D-B9A6-4493-9A72-1CA7ECB1F5CA}"/>
          </ac:spMkLst>
        </pc:spChg>
      </pc:sldChg>
      <pc:sldChg chg="modSp add mod ord">
        <pc:chgData name="Thomas Stensitzki" userId="75cafe6b-2f2a-469b-85c4-eec3b9c972ba" providerId="ADAL" clId="{78A7489F-5177-4675-A072-D65159DC1369}" dt="2022-08-10T10:24:07.245" v="2143" actId="14100"/>
        <pc:sldMkLst>
          <pc:docMk/>
          <pc:sldMk cId="815879234" sldId="663"/>
        </pc:sldMkLst>
        <pc:spChg chg="mod">
          <ac:chgData name="Thomas Stensitzki" userId="75cafe6b-2f2a-469b-85c4-eec3b9c972ba" providerId="ADAL" clId="{78A7489F-5177-4675-A072-D65159DC1369}" dt="2022-08-10T10:24:07.245" v="2143" actId="14100"/>
          <ac:spMkLst>
            <pc:docMk/>
            <pc:sldMk cId="815879234" sldId="663"/>
            <ac:spMk id="2" creationId="{909DC09D-B9A6-4493-9A72-1CA7ECB1F5CA}"/>
          </ac:spMkLst>
        </pc:spChg>
      </pc:sldChg>
      <pc:sldChg chg="modSp add mod ord">
        <pc:chgData name="Thomas Stensitzki" userId="75cafe6b-2f2a-469b-85c4-eec3b9c972ba" providerId="ADAL" clId="{78A7489F-5177-4675-A072-D65159DC1369}" dt="2022-08-10T10:24:18.618" v="2147" actId="1076"/>
        <pc:sldMkLst>
          <pc:docMk/>
          <pc:sldMk cId="3506364790" sldId="664"/>
        </pc:sldMkLst>
        <pc:spChg chg="mod">
          <ac:chgData name="Thomas Stensitzki" userId="75cafe6b-2f2a-469b-85c4-eec3b9c972ba" providerId="ADAL" clId="{78A7489F-5177-4675-A072-D65159DC1369}" dt="2022-08-10T10:24:18.618" v="2147" actId="1076"/>
          <ac:spMkLst>
            <pc:docMk/>
            <pc:sldMk cId="3506364790" sldId="664"/>
            <ac:spMk id="2" creationId="{909DC09D-B9A6-4493-9A72-1CA7ECB1F5CA}"/>
          </ac:spMkLst>
        </pc:spChg>
      </pc:sldChg>
    </pc:docChg>
  </pc:docChgLst>
  <pc:docChgLst>
    <pc:chgData name="Thomas Stensitzki" userId="75cafe6b-2f2a-469b-85c4-eec3b9c972ba" providerId="ADAL" clId="{EF5284BB-E924-47D6-B186-EC378FA380D2}"/>
    <pc:docChg chg="undo redo custSel addSld delSld modSld sldOrd addSection modSection">
      <pc:chgData name="Thomas Stensitzki" userId="75cafe6b-2f2a-469b-85c4-eec3b9c972ba" providerId="ADAL" clId="{EF5284BB-E924-47D6-B186-EC378FA380D2}" dt="2023-05-25T15:52:22.583" v="5170" actId="729"/>
      <pc:docMkLst>
        <pc:docMk/>
      </pc:docMkLst>
      <pc:sldChg chg="addSp modSp mod">
        <pc:chgData name="Thomas Stensitzki" userId="75cafe6b-2f2a-469b-85c4-eec3b9c972ba" providerId="ADAL" clId="{EF5284BB-E924-47D6-B186-EC378FA380D2}" dt="2023-05-25T11:09:09.332" v="4311" actId="1076"/>
        <pc:sldMkLst>
          <pc:docMk/>
          <pc:sldMk cId="671489701" sldId="256"/>
        </pc:sldMkLst>
        <pc:spChg chg="mod">
          <ac:chgData name="Thomas Stensitzki" userId="75cafe6b-2f2a-469b-85c4-eec3b9c972ba" providerId="ADAL" clId="{EF5284BB-E924-47D6-B186-EC378FA380D2}" dt="2023-04-22T12:48:02.069" v="13" actId="20577"/>
          <ac:spMkLst>
            <pc:docMk/>
            <pc:sldMk cId="671489701" sldId="256"/>
            <ac:spMk id="3" creationId="{CBA95633-B02D-4A15-A8B1-A38E0A70FD27}"/>
          </ac:spMkLst>
        </pc:spChg>
        <pc:picChg chg="add mod">
          <ac:chgData name="Thomas Stensitzki" userId="75cafe6b-2f2a-469b-85c4-eec3b9c972ba" providerId="ADAL" clId="{EF5284BB-E924-47D6-B186-EC378FA380D2}" dt="2023-05-25T11:09:09.332" v="4311" actId="1076"/>
          <ac:picMkLst>
            <pc:docMk/>
            <pc:sldMk cId="671489701" sldId="256"/>
            <ac:picMk id="5" creationId="{C13428CA-74A7-C843-3D12-E6FB7CD644DB}"/>
          </ac:picMkLst>
        </pc:picChg>
      </pc:sldChg>
      <pc:sldChg chg="modSp mod">
        <pc:chgData name="Thomas Stensitzki" userId="75cafe6b-2f2a-469b-85c4-eec3b9c972ba" providerId="ADAL" clId="{EF5284BB-E924-47D6-B186-EC378FA380D2}" dt="2023-05-25T11:13:02.937" v="4317" actId="6549"/>
        <pc:sldMkLst>
          <pc:docMk/>
          <pc:sldMk cId="2855324227" sldId="257"/>
        </pc:sldMkLst>
        <pc:graphicFrameChg chg="mod modGraphic">
          <ac:chgData name="Thomas Stensitzki" userId="75cafe6b-2f2a-469b-85c4-eec3b9c972ba" providerId="ADAL" clId="{EF5284BB-E924-47D6-B186-EC378FA380D2}" dt="2023-05-25T11:13:02.937" v="4317" actId="6549"/>
          <ac:graphicFrameMkLst>
            <pc:docMk/>
            <pc:sldMk cId="2855324227" sldId="257"/>
            <ac:graphicFrameMk id="6" creationId="{0F955DCC-462D-431D-BBDE-26F10687D590}"/>
          </ac:graphicFrameMkLst>
        </pc:graphicFrameChg>
      </pc:sldChg>
      <pc:sldChg chg="modSp mod">
        <pc:chgData name="Thomas Stensitzki" userId="75cafe6b-2f2a-469b-85c4-eec3b9c972ba" providerId="ADAL" clId="{EF5284BB-E924-47D6-B186-EC378FA380D2}" dt="2023-04-22T12:49:12.555" v="29" actId="20577"/>
        <pc:sldMkLst>
          <pc:docMk/>
          <pc:sldMk cId="3332792154" sldId="258"/>
        </pc:sldMkLst>
        <pc:spChg chg="mod">
          <ac:chgData name="Thomas Stensitzki" userId="75cafe6b-2f2a-469b-85c4-eec3b9c972ba" providerId="ADAL" clId="{EF5284BB-E924-47D6-B186-EC378FA380D2}" dt="2023-04-22T12:49:12.555" v="29" actId="20577"/>
          <ac:spMkLst>
            <pc:docMk/>
            <pc:sldMk cId="3332792154" sldId="258"/>
            <ac:spMk id="3" creationId="{3A5A44EB-7FB9-473A-8ED3-C49DDD2E65AB}"/>
          </ac:spMkLst>
        </pc:spChg>
      </pc:sldChg>
      <pc:sldChg chg="addSp delSp modSp mod modShow">
        <pc:chgData name="Thomas Stensitzki" userId="75cafe6b-2f2a-469b-85c4-eec3b9c972ba" providerId="ADAL" clId="{EF5284BB-E924-47D6-B186-EC378FA380D2}" dt="2023-05-25T14:36:53.799" v="5042" actId="478"/>
        <pc:sldMkLst>
          <pc:docMk/>
          <pc:sldMk cId="1545829058" sldId="259"/>
        </pc:sldMkLst>
        <pc:spChg chg="del">
          <ac:chgData name="Thomas Stensitzki" userId="75cafe6b-2f2a-469b-85c4-eec3b9c972ba" providerId="ADAL" clId="{EF5284BB-E924-47D6-B186-EC378FA380D2}" dt="2023-05-25T14:36:51.793" v="5041" actId="478"/>
          <ac:spMkLst>
            <pc:docMk/>
            <pc:sldMk cId="1545829058" sldId="259"/>
            <ac:spMk id="2" creationId="{72256567-F024-492F-B46B-D63A1E867178}"/>
          </ac:spMkLst>
        </pc:spChg>
        <pc:spChg chg="add del mod">
          <ac:chgData name="Thomas Stensitzki" userId="75cafe6b-2f2a-469b-85c4-eec3b9c972ba" providerId="ADAL" clId="{EF5284BB-E924-47D6-B186-EC378FA380D2}" dt="2023-05-25T14:36:53.799" v="5042" actId="478"/>
          <ac:spMkLst>
            <pc:docMk/>
            <pc:sldMk cId="1545829058" sldId="259"/>
            <ac:spMk id="5" creationId="{3F167C4A-893C-6682-23DD-52FFDC5B0F3B}"/>
          </ac:spMkLst>
        </pc:spChg>
        <pc:picChg chg="del">
          <ac:chgData name="Thomas Stensitzki" userId="75cafe6b-2f2a-469b-85c4-eec3b9c972ba" providerId="ADAL" clId="{EF5284BB-E924-47D6-B186-EC378FA380D2}" dt="2023-05-05T13:31:00.706" v="32" actId="478"/>
          <ac:picMkLst>
            <pc:docMk/>
            <pc:sldMk cId="1545829058" sldId="259"/>
            <ac:picMk id="4" creationId="{31DC9F61-9044-6FE5-0374-686D575A8A28}"/>
          </ac:picMkLst>
        </pc:picChg>
      </pc:sldChg>
      <pc:sldChg chg="addSp modSp mod">
        <pc:chgData name="Thomas Stensitzki" userId="75cafe6b-2f2a-469b-85c4-eec3b9c972ba" providerId="ADAL" clId="{EF5284BB-E924-47D6-B186-EC378FA380D2}" dt="2023-05-25T11:24:57.393" v="4641" actId="1076"/>
        <pc:sldMkLst>
          <pc:docMk/>
          <pc:sldMk cId="2698998357" sldId="260"/>
        </pc:sldMkLst>
        <pc:spChg chg="mod">
          <ac:chgData name="Thomas Stensitzki" userId="75cafe6b-2f2a-469b-85c4-eec3b9c972ba" providerId="ADAL" clId="{EF5284BB-E924-47D6-B186-EC378FA380D2}" dt="2023-05-05T13:33:43.085" v="165"/>
          <ac:spMkLst>
            <pc:docMk/>
            <pc:sldMk cId="2698998357" sldId="260"/>
            <ac:spMk id="4" creationId="{F3A15CBD-C746-44A3-A4F0-4898CE2F02E6}"/>
          </ac:spMkLst>
        </pc:spChg>
        <pc:spChg chg="mod">
          <ac:chgData name="Thomas Stensitzki" userId="75cafe6b-2f2a-469b-85c4-eec3b9c972ba" providerId="ADAL" clId="{EF5284BB-E924-47D6-B186-EC378FA380D2}" dt="2023-05-05T13:33:50.808" v="183" actId="5793"/>
          <ac:spMkLst>
            <pc:docMk/>
            <pc:sldMk cId="2698998357" sldId="260"/>
            <ac:spMk id="5" creationId="{F3459BE7-1731-4733-A912-12977C68CFD6}"/>
          </ac:spMkLst>
        </pc:spChg>
        <pc:picChg chg="add mod">
          <ac:chgData name="Thomas Stensitzki" userId="75cafe6b-2f2a-469b-85c4-eec3b9c972ba" providerId="ADAL" clId="{EF5284BB-E924-47D6-B186-EC378FA380D2}" dt="2023-05-25T11:24:57.393" v="4641" actId="1076"/>
          <ac:picMkLst>
            <pc:docMk/>
            <pc:sldMk cId="2698998357" sldId="260"/>
            <ac:picMk id="2" creationId="{2D4F20BA-957A-E4A8-5973-4395A784304B}"/>
          </ac:picMkLst>
        </pc:picChg>
      </pc:sldChg>
      <pc:sldChg chg="addSp modSp mod">
        <pc:chgData name="Thomas Stensitzki" userId="75cafe6b-2f2a-469b-85c4-eec3b9c972ba" providerId="ADAL" clId="{EF5284BB-E924-47D6-B186-EC378FA380D2}" dt="2023-05-25T11:25:05.591" v="4642"/>
        <pc:sldMkLst>
          <pc:docMk/>
          <pc:sldMk cId="4007670073" sldId="268"/>
        </pc:sldMkLst>
        <pc:spChg chg="mod">
          <ac:chgData name="Thomas Stensitzki" userId="75cafe6b-2f2a-469b-85c4-eec3b9c972ba" providerId="ADAL" clId="{EF5284BB-E924-47D6-B186-EC378FA380D2}" dt="2023-05-05T13:33:57.816" v="185" actId="6549"/>
          <ac:spMkLst>
            <pc:docMk/>
            <pc:sldMk cId="4007670073" sldId="268"/>
            <ac:spMk id="5" creationId="{F3459BE7-1731-4733-A912-12977C68CFD6}"/>
          </ac:spMkLst>
        </pc:spChg>
        <pc:picChg chg="add mod">
          <ac:chgData name="Thomas Stensitzki" userId="75cafe6b-2f2a-469b-85c4-eec3b9c972ba" providerId="ADAL" clId="{EF5284BB-E924-47D6-B186-EC378FA380D2}" dt="2023-05-25T11:25:05.591" v="4642"/>
          <ac:picMkLst>
            <pc:docMk/>
            <pc:sldMk cId="4007670073" sldId="268"/>
            <ac:picMk id="3" creationId="{9CE283F6-AC42-BB12-8269-56DA34520BEB}"/>
          </ac:picMkLst>
        </pc:picChg>
      </pc:sldChg>
      <pc:sldChg chg="modSp mod modShow">
        <pc:chgData name="Thomas Stensitzki" userId="75cafe6b-2f2a-469b-85c4-eec3b9c972ba" providerId="ADAL" clId="{EF5284BB-E924-47D6-B186-EC378FA380D2}" dt="2023-05-25T15:52:22.583" v="5170" actId="729"/>
        <pc:sldMkLst>
          <pc:docMk/>
          <pc:sldMk cId="2721051844" sldId="269"/>
        </pc:sldMkLst>
        <pc:spChg chg="mod">
          <ac:chgData name="Thomas Stensitzki" userId="75cafe6b-2f2a-469b-85c4-eec3b9c972ba" providerId="ADAL" clId="{EF5284BB-E924-47D6-B186-EC378FA380D2}" dt="2023-04-22T12:48:42.474" v="20" actId="3626"/>
          <ac:spMkLst>
            <pc:docMk/>
            <pc:sldMk cId="2721051844" sldId="269"/>
            <ac:spMk id="5" creationId="{C24DACB5-1BEC-4C86-9652-BAFD8DE56FEF}"/>
          </ac:spMkLst>
        </pc:spChg>
      </pc:sldChg>
      <pc:sldChg chg="modSp mod">
        <pc:chgData name="Thomas Stensitzki" userId="75cafe6b-2f2a-469b-85c4-eec3b9c972ba" providerId="ADAL" clId="{EF5284BB-E924-47D6-B186-EC378FA380D2}" dt="2023-05-16T14:30:56.347" v="2648"/>
        <pc:sldMkLst>
          <pc:docMk/>
          <pc:sldMk cId="2227487991" sldId="378"/>
        </pc:sldMkLst>
        <pc:spChg chg="mod">
          <ac:chgData name="Thomas Stensitzki" userId="75cafe6b-2f2a-469b-85c4-eec3b9c972ba" providerId="ADAL" clId="{EF5284BB-E924-47D6-B186-EC378FA380D2}" dt="2023-05-16T13:54:32.987" v="2420" actId="1035"/>
          <ac:spMkLst>
            <pc:docMk/>
            <pc:sldMk cId="2227487991" sldId="378"/>
            <ac:spMk id="2" creationId="{909DC09D-B9A6-4493-9A72-1CA7ECB1F5CA}"/>
          </ac:spMkLst>
        </pc:spChg>
        <pc:spChg chg="mod">
          <ac:chgData name="Thomas Stensitzki" userId="75cafe6b-2f2a-469b-85c4-eec3b9c972ba" providerId="ADAL" clId="{EF5284BB-E924-47D6-B186-EC378FA380D2}" dt="2023-05-16T14:30:56.347" v="2648"/>
          <ac:spMkLst>
            <pc:docMk/>
            <pc:sldMk cId="2227487991" sldId="378"/>
            <ac:spMk id="5" creationId="{C24DACB5-1BEC-4C86-9652-BAFD8DE56FEF}"/>
          </ac:spMkLst>
        </pc:spChg>
      </pc:sldChg>
      <pc:sldChg chg="modSp mod modNotesTx">
        <pc:chgData name="Thomas Stensitzki" userId="75cafe6b-2f2a-469b-85c4-eec3b9c972ba" providerId="ADAL" clId="{EF5284BB-E924-47D6-B186-EC378FA380D2}" dt="2023-05-25T08:52:29.966" v="3982" actId="6549"/>
        <pc:sldMkLst>
          <pc:docMk/>
          <pc:sldMk cId="3797754622" sldId="515"/>
        </pc:sldMkLst>
        <pc:spChg chg="mod">
          <ac:chgData name="Thomas Stensitzki" userId="75cafe6b-2f2a-469b-85c4-eec3b9c972ba" providerId="ADAL" clId="{EF5284BB-E924-47D6-B186-EC378FA380D2}" dt="2023-05-25T08:49:25.540" v="3940" actId="14100"/>
          <ac:spMkLst>
            <pc:docMk/>
            <pc:sldMk cId="3797754622" sldId="515"/>
            <ac:spMk id="2" creationId="{909DC09D-B9A6-4493-9A72-1CA7ECB1F5CA}"/>
          </ac:spMkLst>
        </pc:spChg>
        <pc:spChg chg="mod">
          <ac:chgData name="Thomas Stensitzki" userId="75cafe6b-2f2a-469b-85c4-eec3b9c972ba" providerId="ADAL" clId="{EF5284BB-E924-47D6-B186-EC378FA380D2}" dt="2023-05-25T08:49:15.100" v="3936" actId="255"/>
          <ac:spMkLst>
            <pc:docMk/>
            <pc:sldMk cId="3797754622" sldId="515"/>
            <ac:spMk id="5" creationId="{C24DACB5-1BEC-4C86-9652-BAFD8DE56FEF}"/>
          </ac:spMkLst>
        </pc:spChg>
      </pc:sldChg>
      <pc:sldChg chg="addSp modSp mod">
        <pc:chgData name="Thomas Stensitzki" userId="75cafe6b-2f2a-469b-85c4-eec3b9c972ba" providerId="ADAL" clId="{EF5284BB-E924-47D6-B186-EC378FA380D2}" dt="2023-05-25T11:09:52.973" v="4316" actId="1076"/>
        <pc:sldMkLst>
          <pc:docMk/>
          <pc:sldMk cId="2791634409" sldId="560"/>
        </pc:sldMkLst>
        <pc:picChg chg="add mod">
          <ac:chgData name="Thomas Stensitzki" userId="75cafe6b-2f2a-469b-85c4-eec3b9c972ba" providerId="ADAL" clId="{EF5284BB-E924-47D6-B186-EC378FA380D2}" dt="2023-05-25T11:09:52.973" v="4316" actId="1076"/>
          <ac:picMkLst>
            <pc:docMk/>
            <pc:sldMk cId="2791634409" sldId="560"/>
            <ac:picMk id="3" creationId="{1D717E81-E6CC-BDE9-9A9C-D2158447BB7A}"/>
          </ac:picMkLst>
        </pc:picChg>
      </pc:sldChg>
      <pc:sldChg chg="del">
        <pc:chgData name="Thomas Stensitzki" userId="75cafe6b-2f2a-469b-85c4-eec3b9c972ba" providerId="ADAL" clId="{EF5284BB-E924-47D6-B186-EC378FA380D2}" dt="2023-04-22T12:48:47.770" v="21" actId="2696"/>
        <pc:sldMkLst>
          <pc:docMk/>
          <pc:sldMk cId="1728515471" sldId="561"/>
        </pc:sldMkLst>
      </pc:sldChg>
      <pc:sldChg chg="addSp modSp mod">
        <pc:chgData name="Thomas Stensitzki" userId="75cafe6b-2f2a-469b-85c4-eec3b9c972ba" providerId="ADAL" clId="{EF5284BB-E924-47D6-B186-EC378FA380D2}" dt="2023-05-25T11:25:12.398" v="4643"/>
        <pc:sldMkLst>
          <pc:docMk/>
          <pc:sldMk cId="1962477249" sldId="659"/>
        </pc:sldMkLst>
        <pc:spChg chg="mod">
          <ac:chgData name="Thomas Stensitzki" userId="75cafe6b-2f2a-469b-85c4-eec3b9c972ba" providerId="ADAL" clId="{EF5284BB-E924-47D6-B186-EC378FA380D2}" dt="2023-05-05T13:34:05.865" v="187" actId="6549"/>
          <ac:spMkLst>
            <pc:docMk/>
            <pc:sldMk cId="1962477249" sldId="659"/>
            <ac:spMk id="5" creationId="{F3459BE7-1731-4733-A912-12977C68CFD6}"/>
          </ac:spMkLst>
        </pc:spChg>
        <pc:picChg chg="add mod">
          <ac:chgData name="Thomas Stensitzki" userId="75cafe6b-2f2a-469b-85c4-eec3b9c972ba" providerId="ADAL" clId="{EF5284BB-E924-47D6-B186-EC378FA380D2}" dt="2023-05-25T11:25:12.398" v="4643"/>
          <ac:picMkLst>
            <pc:docMk/>
            <pc:sldMk cId="1962477249" sldId="659"/>
            <ac:picMk id="3" creationId="{C61DC060-45E2-C7DD-1E04-4E20BAFB2FFA}"/>
          </ac:picMkLst>
        </pc:picChg>
      </pc:sldChg>
      <pc:sldChg chg="del">
        <pc:chgData name="Thomas Stensitzki" userId="75cafe6b-2f2a-469b-85c4-eec3b9c972ba" providerId="ADAL" clId="{EF5284BB-E924-47D6-B186-EC378FA380D2}" dt="2023-04-22T12:48:27.349" v="16" actId="47"/>
        <pc:sldMkLst>
          <pc:docMk/>
          <pc:sldMk cId="1307406210" sldId="660"/>
        </pc:sldMkLst>
      </pc:sldChg>
      <pc:sldChg chg="add mod modShow">
        <pc:chgData name="Thomas Stensitzki" userId="75cafe6b-2f2a-469b-85c4-eec3b9c972ba" providerId="ADAL" clId="{EF5284BB-E924-47D6-B186-EC378FA380D2}" dt="2023-05-05T13:31:07.386" v="33" actId="729"/>
        <pc:sldMkLst>
          <pc:docMk/>
          <pc:sldMk cId="2553020497" sldId="660"/>
        </pc:sldMkLst>
      </pc:sldChg>
      <pc:sldChg chg="del">
        <pc:chgData name="Thomas Stensitzki" userId="75cafe6b-2f2a-469b-85c4-eec3b9c972ba" providerId="ADAL" clId="{EF5284BB-E924-47D6-B186-EC378FA380D2}" dt="2023-04-22T12:48:27.349" v="16" actId="47"/>
        <pc:sldMkLst>
          <pc:docMk/>
          <pc:sldMk cId="3311861693" sldId="661"/>
        </pc:sldMkLst>
      </pc:sldChg>
      <pc:sldChg chg="addSp modSp add mod ord">
        <pc:chgData name="Thomas Stensitzki" userId="75cafe6b-2f2a-469b-85c4-eec3b9c972ba" providerId="ADAL" clId="{EF5284BB-E924-47D6-B186-EC378FA380D2}" dt="2023-05-25T11:25:18.142" v="4644"/>
        <pc:sldMkLst>
          <pc:docMk/>
          <pc:sldMk cId="4212332529" sldId="661"/>
        </pc:sldMkLst>
        <pc:spChg chg="mod">
          <ac:chgData name="Thomas Stensitzki" userId="75cafe6b-2f2a-469b-85c4-eec3b9c972ba" providerId="ADAL" clId="{EF5284BB-E924-47D6-B186-EC378FA380D2}" dt="2023-05-05T13:34:58.783" v="226" actId="20577"/>
          <ac:spMkLst>
            <pc:docMk/>
            <pc:sldMk cId="4212332529" sldId="661"/>
            <ac:spMk id="4" creationId="{F3A15CBD-C746-44A3-A4F0-4898CE2F02E6}"/>
          </ac:spMkLst>
        </pc:spChg>
        <pc:spChg chg="mod">
          <ac:chgData name="Thomas Stensitzki" userId="75cafe6b-2f2a-469b-85c4-eec3b9c972ba" providerId="ADAL" clId="{EF5284BB-E924-47D6-B186-EC378FA380D2}" dt="2023-05-05T13:35:15.856" v="295" actId="6549"/>
          <ac:spMkLst>
            <pc:docMk/>
            <pc:sldMk cId="4212332529" sldId="661"/>
            <ac:spMk id="5" creationId="{F3459BE7-1731-4733-A912-12977C68CFD6}"/>
          </ac:spMkLst>
        </pc:spChg>
        <pc:picChg chg="add mod">
          <ac:chgData name="Thomas Stensitzki" userId="75cafe6b-2f2a-469b-85c4-eec3b9c972ba" providerId="ADAL" clId="{EF5284BB-E924-47D6-B186-EC378FA380D2}" dt="2023-05-25T11:25:18.142" v="4644"/>
          <ac:picMkLst>
            <pc:docMk/>
            <pc:sldMk cId="4212332529" sldId="661"/>
            <ac:picMk id="2" creationId="{8ABE994D-B550-9FCC-E7C1-ECE0C1DCC1FF}"/>
          </ac:picMkLst>
        </pc:picChg>
      </pc:sldChg>
      <pc:sldChg chg="del">
        <pc:chgData name="Thomas Stensitzki" userId="75cafe6b-2f2a-469b-85c4-eec3b9c972ba" providerId="ADAL" clId="{EF5284BB-E924-47D6-B186-EC378FA380D2}" dt="2023-04-22T12:48:08.972" v="14" actId="47"/>
        <pc:sldMkLst>
          <pc:docMk/>
          <pc:sldMk cId="561974499" sldId="662"/>
        </pc:sldMkLst>
      </pc:sldChg>
      <pc:sldChg chg="addSp delSp modSp new mod modClrScheme chgLayout">
        <pc:chgData name="Thomas Stensitzki" userId="75cafe6b-2f2a-469b-85c4-eec3b9c972ba" providerId="ADAL" clId="{EF5284BB-E924-47D6-B186-EC378FA380D2}" dt="2023-05-14T13:10:12.331" v="910" actId="20577"/>
        <pc:sldMkLst>
          <pc:docMk/>
          <pc:sldMk cId="3400462124" sldId="662"/>
        </pc:sldMkLst>
        <pc:spChg chg="del mod ord">
          <ac:chgData name="Thomas Stensitzki" userId="75cafe6b-2f2a-469b-85c4-eec3b9c972ba" providerId="ADAL" clId="{EF5284BB-E924-47D6-B186-EC378FA380D2}" dt="2023-05-05T13:36:54.987" v="297" actId="700"/>
          <ac:spMkLst>
            <pc:docMk/>
            <pc:sldMk cId="3400462124" sldId="662"/>
            <ac:spMk id="2" creationId="{CEA95662-794B-C67A-0630-883E901167BB}"/>
          </ac:spMkLst>
        </pc:spChg>
        <pc:spChg chg="del mod ord">
          <ac:chgData name="Thomas Stensitzki" userId="75cafe6b-2f2a-469b-85c4-eec3b9c972ba" providerId="ADAL" clId="{EF5284BB-E924-47D6-B186-EC378FA380D2}" dt="2023-05-05T13:36:54.987" v="297" actId="700"/>
          <ac:spMkLst>
            <pc:docMk/>
            <pc:sldMk cId="3400462124" sldId="662"/>
            <ac:spMk id="3" creationId="{80C27109-BE45-08B8-E05B-ADE006E84604}"/>
          </ac:spMkLst>
        </pc:spChg>
        <pc:spChg chg="add mod ord">
          <ac:chgData name="Thomas Stensitzki" userId="75cafe6b-2f2a-469b-85c4-eec3b9c972ba" providerId="ADAL" clId="{EF5284BB-E924-47D6-B186-EC378FA380D2}" dt="2023-05-05T13:37:00.372" v="317" actId="20577"/>
          <ac:spMkLst>
            <pc:docMk/>
            <pc:sldMk cId="3400462124" sldId="662"/>
            <ac:spMk id="4" creationId="{A1DC0E2E-74E0-3BC5-72ED-E30800A4AA48}"/>
          </ac:spMkLst>
        </pc:spChg>
        <pc:spChg chg="add mod ord">
          <ac:chgData name="Thomas Stensitzki" userId="75cafe6b-2f2a-469b-85c4-eec3b9c972ba" providerId="ADAL" clId="{EF5284BB-E924-47D6-B186-EC378FA380D2}" dt="2023-05-14T13:10:12.331" v="910" actId="20577"/>
          <ac:spMkLst>
            <pc:docMk/>
            <pc:sldMk cId="3400462124" sldId="662"/>
            <ac:spMk id="5" creationId="{E7E44277-3BFB-F197-AA87-8A0AE4DCEB5D}"/>
          </ac:spMkLst>
        </pc:spChg>
      </pc:sldChg>
      <pc:sldChg chg="del">
        <pc:chgData name="Thomas Stensitzki" userId="75cafe6b-2f2a-469b-85c4-eec3b9c972ba" providerId="ADAL" clId="{EF5284BB-E924-47D6-B186-EC378FA380D2}" dt="2023-04-22T12:48:08.972" v="14" actId="47"/>
        <pc:sldMkLst>
          <pc:docMk/>
          <pc:sldMk cId="102271189" sldId="663"/>
        </pc:sldMkLst>
      </pc:sldChg>
      <pc:sldChg chg="addSp delSp modSp new mod modClrScheme modAnim chgLayout">
        <pc:chgData name="Thomas Stensitzki" userId="75cafe6b-2f2a-469b-85c4-eec3b9c972ba" providerId="ADAL" clId="{EF5284BB-E924-47D6-B186-EC378FA380D2}" dt="2023-05-25T09:03:04.546" v="4012"/>
        <pc:sldMkLst>
          <pc:docMk/>
          <pc:sldMk cId="3908660988" sldId="663"/>
        </pc:sldMkLst>
        <pc:spChg chg="del mod ord">
          <ac:chgData name="Thomas Stensitzki" userId="75cafe6b-2f2a-469b-85c4-eec3b9c972ba" providerId="ADAL" clId="{EF5284BB-E924-47D6-B186-EC378FA380D2}" dt="2023-05-05T13:37:12.891" v="319" actId="700"/>
          <ac:spMkLst>
            <pc:docMk/>
            <pc:sldMk cId="3908660988" sldId="663"/>
            <ac:spMk id="2" creationId="{2636A305-A3A2-D4FA-B776-9B637C29CE35}"/>
          </ac:spMkLst>
        </pc:spChg>
        <pc:spChg chg="del mod ord">
          <ac:chgData name="Thomas Stensitzki" userId="75cafe6b-2f2a-469b-85c4-eec3b9c972ba" providerId="ADAL" clId="{EF5284BB-E924-47D6-B186-EC378FA380D2}" dt="2023-05-05T13:37:12.891" v="319" actId="700"/>
          <ac:spMkLst>
            <pc:docMk/>
            <pc:sldMk cId="3908660988" sldId="663"/>
            <ac:spMk id="3" creationId="{052E4D58-0EA2-F0A8-ACAB-CA2348254226}"/>
          </ac:spMkLst>
        </pc:spChg>
        <pc:spChg chg="add mod ord">
          <ac:chgData name="Thomas Stensitzki" userId="75cafe6b-2f2a-469b-85c4-eec3b9c972ba" providerId="ADAL" clId="{EF5284BB-E924-47D6-B186-EC378FA380D2}" dt="2023-05-05T13:37:21.576" v="341" actId="20577"/>
          <ac:spMkLst>
            <pc:docMk/>
            <pc:sldMk cId="3908660988" sldId="663"/>
            <ac:spMk id="4" creationId="{8B57E8B7-21F9-9C4A-F688-BE94D27A5606}"/>
          </ac:spMkLst>
        </pc:spChg>
        <pc:spChg chg="add mod ord">
          <ac:chgData name="Thomas Stensitzki" userId="75cafe6b-2f2a-469b-85c4-eec3b9c972ba" providerId="ADAL" clId="{EF5284BB-E924-47D6-B186-EC378FA380D2}" dt="2023-05-22T14:48:03.790" v="3076" actId="20577"/>
          <ac:spMkLst>
            <pc:docMk/>
            <pc:sldMk cId="3908660988" sldId="663"/>
            <ac:spMk id="5" creationId="{625FA0D5-DCEE-2BAB-6DA2-F7B27428066F}"/>
          </ac:spMkLst>
        </pc:spChg>
      </pc:sldChg>
      <pc:sldChg chg="del">
        <pc:chgData name="Thomas Stensitzki" userId="75cafe6b-2f2a-469b-85c4-eec3b9c972ba" providerId="ADAL" clId="{EF5284BB-E924-47D6-B186-EC378FA380D2}" dt="2023-04-22T12:48:08.972" v="14" actId="47"/>
        <pc:sldMkLst>
          <pc:docMk/>
          <pc:sldMk cId="754705698" sldId="664"/>
        </pc:sldMkLst>
      </pc:sldChg>
      <pc:sldChg chg="addSp delSp modSp new mod modClrScheme chgLayout">
        <pc:chgData name="Thomas Stensitzki" userId="75cafe6b-2f2a-469b-85c4-eec3b9c972ba" providerId="ADAL" clId="{EF5284BB-E924-47D6-B186-EC378FA380D2}" dt="2023-05-25T14:47:02.428" v="5067" actId="1076"/>
        <pc:sldMkLst>
          <pc:docMk/>
          <pc:sldMk cId="1830824739" sldId="664"/>
        </pc:sldMkLst>
        <pc:spChg chg="del mod ord">
          <ac:chgData name="Thomas Stensitzki" userId="75cafe6b-2f2a-469b-85c4-eec3b9c972ba" providerId="ADAL" clId="{EF5284BB-E924-47D6-B186-EC378FA380D2}" dt="2023-05-05T13:37:32.166" v="343" actId="700"/>
          <ac:spMkLst>
            <pc:docMk/>
            <pc:sldMk cId="1830824739" sldId="664"/>
            <ac:spMk id="2" creationId="{CF713D5A-58F3-D04A-4F3A-7639578A1345}"/>
          </ac:spMkLst>
        </pc:spChg>
        <pc:spChg chg="del mod ord">
          <ac:chgData name="Thomas Stensitzki" userId="75cafe6b-2f2a-469b-85c4-eec3b9c972ba" providerId="ADAL" clId="{EF5284BB-E924-47D6-B186-EC378FA380D2}" dt="2023-05-05T13:37:32.166" v="343" actId="700"/>
          <ac:spMkLst>
            <pc:docMk/>
            <pc:sldMk cId="1830824739" sldId="664"/>
            <ac:spMk id="3" creationId="{7EDABC3B-EC74-5617-7C84-63A99711CBDF}"/>
          </ac:spMkLst>
        </pc:spChg>
        <pc:spChg chg="add mod ord">
          <ac:chgData name="Thomas Stensitzki" userId="75cafe6b-2f2a-469b-85c4-eec3b9c972ba" providerId="ADAL" clId="{EF5284BB-E924-47D6-B186-EC378FA380D2}" dt="2023-05-05T13:37:34.938" v="347" actId="20577"/>
          <ac:spMkLst>
            <pc:docMk/>
            <pc:sldMk cId="1830824739" sldId="664"/>
            <ac:spMk id="4" creationId="{18422859-2D8A-5BA0-AA13-599BA873DB50}"/>
          </ac:spMkLst>
        </pc:spChg>
        <pc:spChg chg="add mod ord">
          <ac:chgData name="Thomas Stensitzki" userId="75cafe6b-2f2a-469b-85c4-eec3b9c972ba" providerId="ADAL" clId="{EF5284BB-E924-47D6-B186-EC378FA380D2}" dt="2023-05-05T13:37:41.380" v="364" actId="20577"/>
          <ac:spMkLst>
            <pc:docMk/>
            <pc:sldMk cId="1830824739" sldId="664"/>
            <ac:spMk id="5" creationId="{1E1DE4E1-A74E-A899-8E71-F5CA4B44F1A5}"/>
          </ac:spMkLst>
        </pc:spChg>
        <pc:picChg chg="add mod">
          <ac:chgData name="Thomas Stensitzki" userId="75cafe6b-2f2a-469b-85c4-eec3b9c972ba" providerId="ADAL" clId="{EF5284BB-E924-47D6-B186-EC378FA380D2}" dt="2023-05-25T14:47:02.428" v="5067" actId="1076"/>
          <ac:picMkLst>
            <pc:docMk/>
            <pc:sldMk cId="1830824739" sldId="664"/>
            <ac:picMk id="3" creationId="{9978F4A4-5D9A-3568-EE56-A5217624703F}"/>
          </ac:picMkLst>
        </pc:picChg>
      </pc:sldChg>
      <pc:sldChg chg="modSp add mod modAnim">
        <pc:chgData name="Thomas Stensitzki" userId="75cafe6b-2f2a-469b-85c4-eec3b9c972ba" providerId="ADAL" clId="{EF5284BB-E924-47D6-B186-EC378FA380D2}" dt="2023-05-25T15:44:38.233" v="5122" actId="6549"/>
        <pc:sldMkLst>
          <pc:docMk/>
          <pc:sldMk cId="923570546" sldId="665"/>
        </pc:sldMkLst>
        <pc:spChg chg="mod">
          <ac:chgData name="Thomas Stensitzki" userId="75cafe6b-2f2a-469b-85c4-eec3b9c972ba" providerId="ADAL" clId="{EF5284BB-E924-47D6-B186-EC378FA380D2}" dt="2023-05-14T13:14:38.215" v="1248" actId="20577"/>
          <ac:spMkLst>
            <pc:docMk/>
            <pc:sldMk cId="923570546" sldId="665"/>
            <ac:spMk id="4" creationId="{8B57E8B7-21F9-9C4A-F688-BE94D27A5606}"/>
          </ac:spMkLst>
        </pc:spChg>
        <pc:spChg chg="mod">
          <ac:chgData name="Thomas Stensitzki" userId="75cafe6b-2f2a-469b-85c4-eec3b9c972ba" providerId="ADAL" clId="{EF5284BB-E924-47D6-B186-EC378FA380D2}" dt="2023-05-25T15:44:38.233" v="5122" actId="6549"/>
          <ac:spMkLst>
            <pc:docMk/>
            <pc:sldMk cId="923570546" sldId="665"/>
            <ac:spMk id="5" creationId="{625FA0D5-DCEE-2BAB-6DA2-F7B27428066F}"/>
          </ac:spMkLst>
        </pc:spChg>
      </pc:sldChg>
      <pc:sldChg chg="del">
        <pc:chgData name="Thomas Stensitzki" userId="75cafe6b-2f2a-469b-85c4-eec3b9c972ba" providerId="ADAL" clId="{EF5284BB-E924-47D6-B186-EC378FA380D2}" dt="2023-04-22T12:48:15.704" v="15" actId="47"/>
        <pc:sldMkLst>
          <pc:docMk/>
          <pc:sldMk cId="3467690866" sldId="665"/>
        </pc:sldMkLst>
      </pc:sldChg>
      <pc:sldChg chg="del">
        <pc:chgData name="Thomas Stensitzki" userId="75cafe6b-2f2a-469b-85c4-eec3b9c972ba" providerId="ADAL" clId="{EF5284BB-E924-47D6-B186-EC378FA380D2}" dt="2023-04-22T12:48:27.349" v="16" actId="47"/>
        <pc:sldMkLst>
          <pc:docMk/>
          <pc:sldMk cId="1478336555" sldId="666"/>
        </pc:sldMkLst>
      </pc:sldChg>
      <pc:sldChg chg="addSp delSp modSp new mod modClrScheme chgLayout modNotesTx">
        <pc:chgData name="Thomas Stensitzki" userId="75cafe6b-2f2a-469b-85c4-eec3b9c972ba" providerId="ADAL" clId="{EF5284BB-E924-47D6-B186-EC378FA380D2}" dt="2023-05-25T10:53:23.995" v="4269" actId="6549"/>
        <pc:sldMkLst>
          <pc:docMk/>
          <pc:sldMk cId="2929133666" sldId="666"/>
        </pc:sldMkLst>
        <pc:spChg chg="add mod">
          <ac:chgData name="Thomas Stensitzki" userId="75cafe6b-2f2a-469b-85c4-eec3b9c972ba" providerId="ADAL" clId="{EF5284BB-E924-47D6-B186-EC378FA380D2}" dt="2023-05-25T09:09:27.525" v="4081" actId="20577"/>
          <ac:spMkLst>
            <pc:docMk/>
            <pc:sldMk cId="2929133666" sldId="666"/>
            <ac:spMk id="2" creationId="{169B400C-33DC-82BA-98A2-3BA12ED9FA28}"/>
          </ac:spMkLst>
        </pc:spChg>
        <pc:spChg chg="del mod ord">
          <ac:chgData name="Thomas Stensitzki" userId="75cafe6b-2f2a-469b-85c4-eec3b9c972ba" providerId="ADAL" clId="{EF5284BB-E924-47D6-B186-EC378FA380D2}" dt="2023-05-05T13:42:06.958" v="484" actId="700"/>
          <ac:spMkLst>
            <pc:docMk/>
            <pc:sldMk cId="2929133666" sldId="666"/>
            <ac:spMk id="2" creationId="{1977D1D6-BFA9-856C-DA62-DB1A639AD46C}"/>
          </ac:spMkLst>
        </pc:spChg>
        <pc:spChg chg="del mod ord">
          <ac:chgData name="Thomas Stensitzki" userId="75cafe6b-2f2a-469b-85c4-eec3b9c972ba" providerId="ADAL" clId="{EF5284BB-E924-47D6-B186-EC378FA380D2}" dt="2023-05-05T13:42:06.958" v="484" actId="700"/>
          <ac:spMkLst>
            <pc:docMk/>
            <pc:sldMk cId="2929133666" sldId="666"/>
            <ac:spMk id="3" creationId="{026BAD66-5FC6-5EA8-42C3-10A56C0A80F9}"/>
          </ac:spMkLst>
        </pc:spChg>
        <pc:spChg chg="add mod ord">
          <ac:chgData name="Thomas Stensitzki" userId="75cafe6b-2f2a-469b-85c4-eec3b9c972ba" providerId="ADAL" clId="{EF5284BB-E924-47D6-B186-EC378FA380D2}" dt="2023-05-05T13:42:12.553" v="494" actId="20577"/>
          <ac:spMkLst>
            <pc:docMk/>
            <pc:sldMk cId="2929133666" sldId="666"/>
            <ac:spMk id="4" creationId="{9D4128E2-FBA7-900F-7B66-CEEBB9C7063C}"/>
          </ac:spMkLst>
        </pc:spChg>
        <pc:spChg chg="add mod ord">
          <ac:chgData name="Thomas Stensitzki" userId="75cafe6b-2f2a-469b-85c4-eec3b9c972ba" providerId="ADAL" clId="{EF5284BB-E924-47D6-B186-EC378FA380D2}" dt="2023-05-14T13:37:37.113" v="2112" actId="20577"/>
          <ac:spMkLst>
            <pc:docMk/>
            <pc:sldMk cId="2929133666" sldId="666"/>
            <ac:spMk id="5" creationId="{0C5A623D-94AE-2D59-FFE6-1DB4A44070C0}"/>
          </ac:spMkLst>
        </pc:spChg>
        <pc:picChg chg="mod">
          <ac:chgData name="Thomas Stensitzki" userId="75cafe6b-2f2a-469b-85c4-eec3b9c972ba" providerId="ADAL" clId="{EF5284BB-E924-47D6-B186-EC378FA380D2}" dt="2023-05-25T09:05:17.278" v="4048" actId="1035"/>
          <ac:picMkLst>
            <pc:docMk/>
            <pc:sldMk cId="2929133666" sldId="666"/>
            <ac:picMk id="6" creationId="{C8D4B2FE-EDD8-50E5-8B16-7E008C16F86F}"/>
          </ac:picMkLst>
        </pc:picChg>
      </pc:sldChg>
      <pc:sldChg chg="addSp delSp modSp new mod">
        <pc:chgData name="Thomas Stensitzki" userId="75cafe6b-2f2a-469b-85c4-eec3b9c972ba" providerId="ADAL" clId="{EF5284BB-E924-47D6-B186-EC378FA380D2}" dt="2023-05-14T13:16:14.120" v="1270"/>
        <pc:sldMkLst>
          <pc:docMk/>
          <pc:sldMk cId="3802477703" sldId="667"/>
        </pc:sldMkLst>
        <pc:spChg chg="mod">
          <ac:chgData name="Thomas Stensitzki" userId="75cafe6b-2f2a-469b-85c4-eec3b9c972ba" providerId="ADAL" clId="{EF5284BB-E924-47D6-B186-EC378FA380D2}" dt="2023-05-14T13:16:14.120" v="1270"/>
          <ac:spMkLst>
            <pc:docMk/>
            <pc:sldMk cId="3802477703" sldId="667"/>
            <ac:spMk id="2" creationId="{943B72FB-CB54-134D-1ABF-BCBFE774C15F}"/>
          </ac:spMkLst>
        </pc:spChg>
        <pc:spChg chg="del">
          <ac:chgData name="Thomas Stensitzki" userId="75cafe6b-2f2a-469b-85c4-eec3b9c972ba" providerId="ADAL" clId="{EF5284BB-E924-47D6-B186-EC378FA380D2}" dt="2023-05-05T13:49:41.352" v="807" actId="478"/>
          <ac:spMkLst>
            <pc:docMk/>
            <pc:sldMk cId="3802477703" sldId="667"/>
            <ac:spMk id="3" creationId="{591A6973-6760-BA6D-4064-29955362EF3A}"/>
          </ac:spMkLst>
        </pc:spChg>
        <pc:picChg chg="add mod">
          <ac:chgData name="Thomas Stensitzki" userId="75cafe6b-2f2a-469b-85c4-eec3b9c972ba" providerId="ADAL" clId="{EF5284BB-E924-47D6-B186-EC378FA380D2}" dt="2023-05-05T13:50:00.782" v="811" actId="1440"/>
          <ac:picMkLst>
            <pc:docMk/>
            <pc:sldMk cId="3802477703" sldId="667"/>
            <ac:picMk id="5" creationId="{59007772-8755-0B09-0B61-A2C5D858E370}"/>
          </ac:picMkLst>
        </pc:picChg>
      </pc:sldChg>
      <pc:sldChg chg="del">
        <pc:chgData name="Thomas Stensitzki" userId="75cafe6b-2f2a-469b-85c4-eec3b9c972ba" providerId="ADAL" clId="{EF5284BB-E924-47D6-B186-EC378FA380D2}" dt="2023-04-22T12:48:27.349" v="16" actId="47"/>
        <pc:sldMkLst>
          <pc:docMk/>
          <pc:sldMk cId="4080389735" sldId="667"/>
        </pc:sldMkLst>
      </pc:sldChg>
      <pc:sldChg chg="addSp delSp modSp add mod modAnim">
        <pc:chgData name="Thomas Stensitzki" userId="75cafe6b-2f2a-469b-85c4-eec3b9c972ba" providerId="ADAL" clId="{EF5284BB-E924-47D6-B186-EC378FA380D2}" dt="2023-05-25T09:03:49.146" v="4018" actId="1076"/>
        <pc:sldMkLst>
          <pc:docMk/>
          <pc:sldMk cId="1650060701" sldId="668"/>
        </pc:sldMkLst>
        <pc:spChg chg="mod">
          <ac:chgData name="Thomas Stensitzki" userId="75cafe6b-2f2a-469b-85c4-eec3b9c972ba" providerId="ADAL" clId="{EF5284BB-E924-47D6-B186-EC378FA380D2}" dt="2023-05-14T13:16:28.294" v="1271"/>
          <ac:spMkLst>
            <pc:docMk/>
            <pc:sldMk cId="1650060701" sldId="668"/>
            <ac:spMk id="2" creationId="{943B72FB-CB54-134D-1ABF-BCBFE774C15F}"/>
          </ac:spMkLst>
        </pc:spChg>
        <pc:spChg chg="add mod">
          <ac:chgData name="Thomas Stensitzki" userId="75cafe6b-2f2a-469b-85c4-eec3b9c972ba" providerId="ADAL" clId="{EF5284BB-E924-47D6-B186-EC378FA380D2}" dt="2023-05-25T09:03:49.146" v="4018" actId="1076"/>
          <ac:spMkLst>
            <pc:docMk/>
            <pc:sldMk cId="1650060701" sldId="668"/>
            <ac:spMk id="3" creationId="{25559C36-B7D6-A286-B2B5-CAD6A08041FD}"/>
          </ac:spMkLst>
        </pc:spChg>
        <pc:picChg chg="add del mod">
          <ac:chgData name="Thomas Stensitzki" userId="75cafe6b-2f2a-469b-85c4-eec3b9c972ba" providerId="ADAL" clId="{EF5284BB-E924-47D6-B186-EC378FA380D2}" dt="2023-05-14T13:19:57.028" v="1275" actId="478"/>
          <ac:picMkLst>
            <pc:docMk/>
            <pc:sldMk cId="1650060701" sldId="668"/>
            <ac:picMk id="4" creationId="{F9C9689B-8368-17C5-8AA3-DB0A0CA49F63}"/>
          </ac:picMkLst>
        </pc:picChg>
        <pc:picChg chg="del">
          <ac:chgData name="Thomas Stensitzki" userId="75cafe6b-2f2a-469b-85c4-eec3b9c972ba" providerId="ADAL" clId="{EF5284BB-E924-47D6-B186-EC378FA380D2}" dt="2023-05-14T13:15:45.494" v="1267" actId="478"/>
          <ac:picMkLst>
            <pc:docMk/>
            <pc:sldMk cId="1650060701" sldId="668"/>
            <ac:picMk id="5" creationId="{59007772-8755-0B09-0B61-A2C5D858E370}"/>
          </ac:picMkLst>
        </pc:picChg>
        <pc:picChg chg="add mod">
          <ac:chgData name="Thomas Stensitzki" userId="75cafe6b-2f2a-469b-85c4-eec3b9c972ba" providerId="ADAL" clId="{EF5284BB-E924-47D6-B186-EC378FA380D2}" dt="2023-05-14T13:20:07.026" v="1279" actId="1440"/>
          <ac:picMkLst>
            <pc:docMk/>
            <pc:sldMk cId="1650060701" sldId="668"/>
            <ac:picMk id="7" creationId="{553BAC5F-649A-BB54-81D4-FBA475E14471}"/>
          </ac:picMkLst>
        </pc:picChg>
      </pc:sldChg>
      <pc:sldChg chg="del">
        <pc:chgData name="Thomas Stensitzki" userId="75cafe6b-2f2a-469b-85c4-eec3b9c972ba" providerId="ADAL" clId="{EF5284BB-E924-47D6-B186-EC378FA380D2}" dt="2023-04-22T12:48:27.349" v="16" actId="47"/>
        <pc:sldMkLst>
          <pc:docMk/>
          <pc:sldMk cId="3202947217" sldId="668"/>
        </pc:sldMkLst>
      </pc:sldChg>
      <pc:sldChg chg="add del">
        <pc:chgData name="Thomas Stensitzki" userId="75cafe6b-2f2a-469b-85c4-eec3b9c972ba" providerId="ADAL" clId="{EF5284BB-E924-47D6-B186-EC378FA380D2}" dt="2023-05-14T13:20:34.373" v="1283" actId="47"/>
        <pc:sldMkLst>
          <pc:docMk/>
          <pc:sldMk cId="759036446" sldId="669"/>
        </pc:sldMkLst>
      </pc:sldChg>
      <pc:sldChg chg="del">
        <pc:chgData name="Thomas Stensitzki" userId="75cafe6b-2f2a-469b-85c4-eec3b9c972ba" providerId="ADAL" clId="{EF5284BB-E924-47D6-B186-EC378FA380D2}" dt="2023-04-22T12:48:27.349" v="16" actId="47"/>
        <pc:sldMkLst>
          <pc:docMk/>
          <pc:sldMk cId="2193982032" sldId="669"/>
        </pc:sldMkLst>
      </pc:sldChg>
      <pc:sldChg chg="del">
        <pc:chgData name="Thomas Stensitzki" userId="75cafe6b-2f2a-469b-85c4-eec3b9c972ba" providerId="ADAL" clId="{EF5284BB-E924-47D6-B186-EC378FA380D2}" dt="2023-04-22T12:48:15.704" v="15" actId="47"/>
        <pc:sldMkLst>
          <pc:docMk/>
          <pc:sldMk cId="122818087" sldId="670"/>
        </pc:sldMkLst>
      </pc:sldChg>
      <pc:sldChg chg="addSp modSp add mod modAnim">
        <pc:chgData name="Thomas Stensitzki" userId="75cafe6b-2f2a-469b-85c4-eec3b9c972ba" providerId="ADAL" clId="{EF5284BB-E924-47D6-B186-EC378FA380D2}" dt="2023-05-25T09:04:43.336" v="4027" actId="1076"/>
        <pc:sldMkLst>
          <pc:docMk/>
          <pc:sldMk cId="3682317345" sldId="670"/>
        </pc:sldMkLst>
        <pc:spChg chg="add mod">
          <ac:chgData name="Thomas Stensitzki" userId="75cafe6b-2f2a-469b-85c4-eec3b9c972ba" providerId="ADAL" clId="{EF5284BB-E924-47D6-B186-EC378FA380D2}" dt="2023-05-25T09:04:43.336" v="4027" actId="1076"/>
          <ac:spMkLst>
            <pc:docMk/>
            <pc:sldMk cId="3682317345" sldId="670"/>
            <ac:spMk id="6" creationId="{13A3C0CF-8A50-E43F-A1A2-D7B5CA420DDA}"/>
          </ac:spMkLst>
        </pc:spChg>
        <pc:spChg chg="add mod">
          <ac:chgData name="Thomas Stensitzki" userId="75cafe6b-2f2a-469b-85c4-eec3b9c972ba" providerId="ADAL" clId="{EF5284BB-E924-47D6-B186-EC378FA380D2}" dt="2023-05-25T09:04:06.577" v="4023" actId="1076"/>
          <ac:spMkLst>
            <pc:docMk/>
            <pc:sldMk cId="3682317345" sldId="670"/>
            <ac:spMk id="8" creationId="{B9541FF4-1E1F-33CC-18CC-1FB0E018F7D2}"/>
          </ac:spMkLst>
        </pc:spChg>
        <pc:picChg chg="add mod">
          <ac:chgData name="Thomas Stensitzki" userId="75cafe6b-2f2a-469b-85c4-eec3b9c972ba" providerId="ADAL" clId="{EF5284BB-E924-47D6-B186-EC378FA380D2}" dt="2023-05-25T09:04:39.910" v="4026" actId="1076"/>
          <ac:picMkLst>
            <pc:docMk/>
            <pc:sldMk cId="3682317345" sldId="670"/>
            <ac:picMk id="3" creationId="{81874EEF-EFDE-0FC8-6A52-AA7BDF521F73}"/>
          </ac:picMkLst>
        </pc:picChg>
        <pc:picChg chg="add mod">
          <ac:chgData name="Thomas Stensitzki" userId="75cafe6b-2f2a-469b-85c4-eec3b9c972ba" providerId="ADAL" clId="{EF5284BB-E924-47D6-B186-EC378FA380D2}" dt="2023-05-25T06:51:16.571" v="3149" actId="1076"/>
          <ac:picMkLst>
            <pc:docMk/>
            <pc:sldMk cId="3682317345" sldId="670"/>
            <ac:picMk id="5" creationId="{13A9BA71-8A61-6A65-BC74-6152C078D11E}"/>
          </ac:picMkLst>
        </pc:picChg>
      </pc:sldChg>
      <pc:sldChg chg="modSp add mod modAnim">
        <pc:chgData name="Thomas Stensitzki" userId="75cafe6b-2f2a-469b-85c4-eec3b9c972ba" providerId="ADAL" clId="{EF5284BB-E924-47D6-B186-EC378FA380D2}" dt="2023-05-25T15:46:52.546" v="5169" actId="20577"/>
        <pc:sldMkLst>
          <pc:docMk/>
          <pc:sldMk cId="2047617742" sldId="671"/>
        </pc:sldMkLst>
        <pc:spChg chg="mod">
          <ac:chgData name="Thomas Stensitzki" userId="75cafe6b-2f2a-469b-85c4-eec3b9c972ba" providerId="ADAL" clId="{EF5284BB-E924-47D6-B186-EC378FA380D2}" dt="2023-05-25T15:46:52.546" v="5169" actId="20577"/>
          <ac:spMkLst>
            <pc:docMk/>
            <pc:sldMk cId="2047617742" sldId="671"/>
            <ac:spMk id="5" creationId="{625FA0D5-DCEE-2BAB-6DA2-F7B27428066F}"/>
          </ac:spMkLst>
        </pc:spChg>
      </pc:sldChg>
      <pc:sldChg chg="del">
        <pc:chgData name="Thomas Stensitzki" userId="75cafe6b-2f2a-469b-85c4-eec3b9c972ba" providerId="ADAL" clId="{EF5284BB-E924-47D6-B186-EC378FA380D2}" dt="2023-04-22T12:48:27.349" v="16" actId="47"/>
        <pc:sldMkLst>
          <pc:docMk/>
          <pc:sldMk cId="2909463456" sldId="671"/>
        </pc:sldMkLst>
      </pc:sldChg>
      <pc:sldChg chg="del">
        <pc:chgData name="Thomas Stensitzki" userId="75cafe6b-2f2a-469b-85c4-eec3b9c972ba" providerId="ADAL" clId="{EF5284BB-E924-47D6-B186-EC378FA380D2}" dt="2023-04-22T12:48:27.349" v="16" actId="47"/>
        <pc:sldMkLst>
          <pc:docMk/>
          <pc:sldMk cId="1253155529" sldId="672"/>
        </pc:sldMkLst>
      </pc:sldChg>
      <pc:sldChg chg="modSp new mod ord">
        <pc:chgData name="Thomas Stensitzki" userId="75cafe6b-2f2a-469b-85c4-eec3b9c972ba" providerId="ADAL" clId="{EF5284BB-E924-47D6-B186-EC378FA380D2}" dt="2023-05-16T13:51:07.105" v="2387"/>
        <pc:sldMkLst>
          <pc:docMk/>
          <pc:sldMk cId="3858958038" sldId="672"/>
        </pc:sldMkLst>
        <pc:spChg chg="mod">
          <ac:chgData name="Thomas Stensitzki" userId="75cafe6b-2f2a-469b-85c4-eec3b9c972ba" providerId="ADAL" clId="{EF5284BB-E924-47D6-B186-EC378FA380D2}" dt="2023-05-16T13:48:29.307" v="2218"/>
          <ac:spMkLst>
            <pc:docMk/>
            <pc:sldMk cId="3858958038" sldId="672"/>
            <ac:spMk id="2" creationId="{CC2FA1F0-C051-0A08-64B3-9DF1B3898580}"/>
          </ac:spMkLst>
        </pc:spChg>
        <pc:spChg chg="mod">
          <ac:chgData name="Thomas Stensitzki" userId="75cafe6b-2f2a-469b-85c4-eec3b9c972ba" providerId="ADAL" clId="{EF5284BB-E924-47D6-B186-EC378FA380D2}" dt="2023-05-16T13:50:50.089" v="2383" actId="6549"/>
          <ac:spMkLst>
            <pc:docMk/>
            <pc:sldMk cId="3858958038" sldId="672"/>
            <ac:spMk id="3" creationId="{BCF3249D-EC3E-1C3C-4550-845B3E3A0527}"/>
          </ac:spMkLst>
        </pc:spChg>
      </pc:sldChg>
      <pc:sldChg chg="del">
        <pc:chgData name="Thomas Stensitzki" userId="75cafe6b-2f2a-469b-85c4-eec3b9c972ba" providerId="ADAL" clId="{EF5284BB-E924-47D6-B186-EC378FA380D2}" dt="2023-04-22T12:48:27.349" v="16" actId="47"/>
        <pc:sldMkLst>
          <pc:docMk/>
          <pc:sldMk cId="3265622204" sldId="673"/>
        </pc:sldMkLst>
      </pc:sldChg>
      <pc:sldChg chg="addSp delSp modSp new mod">
        <pc:chgData name="Thomas Stensitzki" userId="75cafe6b-2f2a-469b-85c4-eec3b9c972ba" providerId="ADAL" clId="{EF5284BB-E924-47D6-B186-EC378FA380D2}" dt="2023-05-25T11:22:51.146" v="4634" actId="1440"/>
        <pc:sldMkLst>
          <pc:docMk/>
          <pc:sldMk cId="3468202035" sldId="673"/>
        </pc:sldMkLst>
        <pc:spChg chg="mod">
          <ac:chgData name="Thomas Stensitzki" userId="75cafe6b-2f2a-469b-85c4-eec3b9c972ba" providerId="ADAL" clId="{EF5284BB-E924-47D6-B186-EC378FA380D2}" dt="2023-05-16T13:51:52.685" v="2396"/>
          <ac:spMkLst>
            <pc:docMk/>
            <pc:sldMk cId="3468202035" sldId="673"/>
            <ac:spMk id="2" creationId="{2267CE1F-D14D-08BA-6A1B-E8294D7B635F}"/>
          </ac:spMkLst>
        </pc:spChg>
        <pc:spChg chg="del">
          <ac:chgData name="Thomas Stensitzki" userId="75cafe6b-2f2a-469b-85c4-eec3b9c972ba" providerId="ADAL" clId="{EF5284BB-E924-47D6-B186-EC378FA380D2}" dt="2023-05-16T13:52:04.972" v="2397" actId="478"/>
          <ac:spMkLst>
            <pc:docMk/>
            <pc:sldMk cId="3468202035" sldId="673"/>
            <ac:spMk id="3" creationId="{C7AB64E4-7E90-2996-9870-3A318592F118}"/>
          </ac:spMkLst>
        </pc:spChg>
        <pc:picChg chg="add mod">
          <ac:chgData name="Thomas Stensitzki" userId="75cafe6b-2f2a-469b-85c4-eec3b9c972ba" providerId="ADAL" clId="{EF5284BB-E924-47D6-B186-EC378FA380D2}" dt="2023-05-25T11:22:51.146" v="4634" actId="1440"/>
          <ac:picMkLst>
            <pc:docMk/>
            <pc:sldMk cId="3468202035" sldId="673"/>
            <ac:picMk id="1026" creationId="{E60B728A-8511-B50B-FBEB-78DF08D2B4EF}"/>
          </ac:picMkLst>
        </pc:picChg>
      </pc:sldChg>
      <pc:sldChg chg="del">
        <pc:chgData name="Thomas Stensitzki" userId="75cafe6b-2f2a-469b-85c4-eec3b9c972ba" providerId="ADAL" clId="{EF5284BB-E924-47D6-B186-EC378FA380D2}" dt="2023-04-22T12:48:27.349" v="16" actId="47"/>
        <pc:sldMkLst>
          <pc:docMk/>
          <pc:sldMk cId="549057824" sldId="674"/>
        </pc:sldMkLst>
      </pc:sldChg>
      <pc:sldChg chg="addSp delSp modSp add">
        <pc:chgData name="Thomas Stensitzki" userId="75cafe6b-2f2a-469b-85c4-eec3b9c972ba" providerId="ADAL" clId="{EF5284BB-E924-47D6-B186-EC378FA380D2}" dt="2023-05-25T11:22:49.354" v="4633" actId="1440"/>
        <pc:sldMkLst>
          <pc:docMk/>
          <pc:sldMk cId="2327618361" sldId="674"/>
        </pc:sldMkLst>
        <pc:picChg chg="del">
          <ac:chgData name="Thomas Stensitzki" userId="75cafe6b-2f2a-469b-85c4-eec3b9c972ba" providerId="ADAL" clId="{EF5284BB-E924-47D6-B186-EC378FA380D2}" dt="2023-05-16T13:52:43.196" v="2408" actId="478"/>
          <ac:picMkLst>
            <pc:docMk/>
            <pc:sldMk cId="2327618361" sldId="674"/>
            <ac:picMk id="1026" creationId="{E60B728A-8511-B50B-FBEB-78DF08D2B4EF}"/>
          </ac:picMkLst>
        </pc:picChg>
        <pc:picChg chg="add mod">
          <ac:chgData name="Thomas Stensitzki" userId="75cafe6b-2f2a-469b-85c4-eec3b9c972ba" providerId="ADAL" clId="{EF5284BB-E924-47D6-B186-EC378FA380D2}" dt="2023-05-25T11:22:49.354" v="4633" actId="1440"/>
          <ac:picMkLst>
            <pc:docMk/>
            <pc:sldMk cId="2327618361" sldId="674"/>
            <ac:picMk id="2050" creationId="{D878693E-8782-6400-B4F0-A098857E2D76}"/>
          </ac:picMkLst>
        </pc:picChg>
      </pc:sldChg>
      <pc:sldChg chg="del">
        <pc:chgData name="Thomas Stensitzki" userId="75cafe6b-2f2a-469b-85c4-eec3b9c972ba" providerId="ADAL" clId="{EF5284BB-E924-47D6-B186-EC378FA380D2}" dt="2023-04-22T12:48:15.704" v="15" actId="47"/>
        <pc:sldMkLst>
          <pc:docMk/>
          <pc:sldMk cId="1757766559" sldId="675"/>
        </pc:sldMkLst>
      </pc:sldChg>
      <pc:sldChg chg="addSp delSp modSp add mod">
        <pc:chgData name="Thomas Stensitzki" userId="75cafe6b-2f2a-469b-85c4-eec3b9c972ba" providerId="ADAL" clId="{EF5284BB-E924-47D6-B186-EC378FA380D2}" dt="2023-05-25T11:22:47.840" v="4632" actId="1440"/>
        <pc:sldMkLst>
          <pc:docMk/>
          <pc:sldMk cId="1759168096" sldId="675"/>
        </pc:sldMkLst>
        <pc:spChg chg="add del">
          <ac:chgData name="Thomas Stensitzki" userId="75cafe6b-2f2a-469b-85c4-eec3b9c972ba" providerId="ADAL" clId="{EF5284BB-E924-47D6-B186-EC378FA380D2}" dt="2023-05-16T13:53:28.937" v="2411" actId="22"/>
          <ac:spMkLst>
            <pc:docMk/>
            <pc:sldMk cId="1759168096" sldId="675"/>
            <ac:spMk id="4" creationId="{A88B8F9B-1B6C-D974-4A5C-5D796EE9C1E8}"/>
          </ac:spMkLst>
        </pc:spChg>
        <pc:picChg chg="mod">
          <ac:chgData name="Thomas Stensitzki" userId="75cafe6b-2f2a-469b-85c4-eec3b9c972ba" providerId="ADAL" clId="{EF5284BB-E924-47D6-B186-EC378FA380D2}" dt="2023-05-25T11:22:47.840" v="4632" actId="1440"/>
          <ac:picMkLst>
            <pc:docMk/>
            <pc:sldMk cId="1759168096" sldId="675"/>
            <ac:picMk id="2050" creationId="{D878693E-8782-6400-B4F0-A098857E2D76}"/>
          </ac:picMkLst>
        </pc:picChg>
      </pc:sldChg>
      <pc:sldChg chg="modSp add">
        <pc:chgData name="Thomas Stensitzki" userId="75cafe6b-2f2a-469b-85c4-eec3b9c972ba" providerId="ADAL" clId="{EF5284BB-E924-47D6-B186-EC378FA380D2}" dt="2023-05-25T11:22:43.129" v="4631" actId="1440"/>
        <pc:sldMkLst>
          <pc:docMk/>
          <pc:sldMk cId="1298798883" sldId="676"/>
        </pc:sldMkLst>
        <pc:picChg chg="mod">
          <ac:chgData name="Thomas Stensitzki" userId="75cafe6b-2f2a-469b-85c4-eec3b9c972ba" providerId="ADAL" clId="{EF5284BB-E924-47D6-B186-EC378FA380D2}" dt="2023-05-25T11:22:43.129" v="4631" actId="1440"/>
          <ac:picMkLst>
            <pc:docMk/>
            <pc:sldMk cId="1298798883" sldId="676"/>
            <ac:picMk id="2050" creationId="{D878693E-8782-6400-B4F0-A098857E2D76}"/>
          </ac:picMkLst>
        </pc:picChg>
      </pc:sldChg>
      <pc:sldChg chg="del">
        <pc:chgData name="Thomas Stensitzki" userId="75cafe6b-2f2a-469b-85c4-eec3b9c972ba" providerId="ADAL" clId="{EF5284BB-E924-47D6-B186-EC378FA380D2}" dt="2023-04-22T12:48:27.349" v="16" actId="47"/>
        <pc:sldMkLst>
          <pc:docMk/>
          <pc:sldMk cId="2309531245" sldId="676"/>
        </pc:sldMkLst>
      </pc:sldChg>
      <pc:sldChg chg="modSp add del">
        <pc:chgData name="Thomas Stensitzki" userId="75cafe6b-2f2a-469b-85c4-eec3b9c972ba" providerId="ADAL" clId="{EF5284BB-E924-47D6-B186-EC378FA380D2}" dt="2023-05-25T11:14:59.485" v="4320" actId="2696"/>
        <pc:sldMkLst>
          <pc:docMk/>
          <pc:sldMk cId="548932751" sldId="677"/>
        </pc:sldMkLst>
        <pc:picChg chg="mod">
          <ac:chgData name="Thomas Stensitzki" userId="75cafe6b-2f2a-469b-85c4-eec3b9c972ba" providerId="ADAL" clId="{EF5284BB-E924-47D6-B186-EC378FA380D2}" dt="2023-05-25T11:14:38.554" v="4319" actId="1076"/>
          <ac:picMkLst>
            <pc:docMk/>
            <pc:sldMk cId="548932751" sldId="677"/>
            <ac:picMk id="2050" creationId="{D878693E-8782-6400-B4F0-A098857E2D76}"/>
          </ac:picMkLst>
        </pc:picChg>
      </pc:sldChg>
      <pc:sldChg chg="del">
        <pc:chgData name="Thomas Stensitzki" userId="75cafe6b-2f2a-469b-85c4-eec3b9c972ba" providerId="ADAL" clId="{EF5284BB-E924-47D6-B186-EC378FA380D2}" dt="2023-04-22T12:48:27.349" v="16" actId="47"/>
        <pc:sldMkLst>
          <pc:docMk/>
          <pc:sldMk cId="857527238" sldId="677"/>
        </pc:sldMkLst>
      </pc:sldChg>
      <pc:sldChg chg="del">
        <pc:chgData name="Thomas Stensitzki" userId="75cafe6b-2f2a-469b-85c4-eec3b9c972ba" providerId="ADAL" clId="{EF5284BB-E924-47D6-B186-EC378FA380D2}" dt="2023-04-22T12:48:27.349" v="16" actId="47"/>
        <pc:sldMkLst>
          <pc:docMk/>
          <pc:sldMk cId="2554844056" sldId="678"/>
        </pc:sldMkLst>
      </pc:sldChg>
      <pc:sldChg chg="addSp delSp modSp add mod modAnim">
        <pc:chgData name="Thomas Stensitzki" userId="75cafe6b-2f2a-469b-85c4-eec3b9c972ba" providerId="ADAL" clId="{EF5284BB-E924-47D6-B186-EC378FA380D2}" dt="2023-05-25T11:22:41.226" v="4630" actId="1440"/>
        <pc:sldMkLst>
          <pc:docMk/>
          <pc:sldMk cId="3589806354" sldId="678"/>
        </pc:sldMkLst>
        <pc:spChg chg="mod">
          <ac:chgData name="Thomas Stensitzki" userId="75cafe6b-2f2a-469b-85c4-eec3b9c972ba" providerId="ADAL" clId="{EF5284BB-E924-47D6-B186-EC378FA380D2}" dt="2023-05-16T13:56:20.151" v="2450" actId="20577"/>
          <ac:spMkLst>
            <pc:docMk/>
            <pc:sldMk cId="3589806354" sldId="678"/>
            <ac:spMk id="2" creationId="{2267CE1F-D14D-08BA-6A1B-E8294D7B635F}"/>
          </ac:spMkLst>
        </pc:spChg>
        <pc:spChg chg="add mod">
          <ac:chgData name="Thomas Stensitzki" userId="75cafe6b-2f2a-469b-85c4-eec3b9c972ba" providerId="ADAL" clId="{EF5284BB-E924-47D6-B186-EC378FA380D2}" dt="2023-05-25T11:16:21.181" v="4322" actId="1076"/>
          <ac:spMkLst>
            <pc:docMk/>
            <pc:sldMk cId="3589806354" sldId="678"/>
            <ac:spMk id="3" creationId="{A1A10B9C-8657-38A4-B4A0-CFFE82772F41}"/>
          </ac:spMkLst>
        </pc:spChg>
        <pc:spChg chg="add mod">
          <ac:chgData name="Thomas Stensitzki" userId="75cafe6b-2f2a-469b-85c4-eec3b9c972ba" providerId="ADAL" clId="{EF5284BB-E924-47D6-B186-EC378FA380D2}" dt="2023-05-25T11:16:29.285" v="4326" actId="1076"/>
          <ac:spMkLst>
            <pc:docMk/>
            <pc:sldMk cId="3589806354" sldId="678"/>
            <ac:spMk id="4" creationId="{9525AB6D-D787-A74B-8999-F8B743464E3F}"/>
          </ac:spMkLst>
        </pc:spChg>
        <pc:picChg chg="del">
          <ac:chgData name="Thomas Stensitzki" userId="75cafe6b-2f2a-469b-85c4-eec3b9c972ba" providerId="ADAL" clId="{EF5284BB-E924-47D6-B186-EC378FA380D2}" dt="2023-05-16T13:54:53.148" v="2424" actId="478"/>
          <ac:picMkLst>
            <pc:docMk/>
            <pc:sldMk cId="3589806354" sldId="678"/>
            <ac:picMk id="2050" creationId="{D878693E-8782-6400-B4F0-A098857E2D76}"/>
          </ac:picMkLst>
        </pc:picChg>
        <pc:picChg chg="add mod">
          <ac:chgData name="Thomas Stensitzki" userId="75cafe6b-2f2a-469b-85c4-eec3b9c972ba" providerId="ADAL" clId="{EF5284BB-E924-47D6-B186-EC378FA380D2}" dt="2023-05-25T11:22:41.226" v="4630" actId="1440"/>
          <ac:picMkLst>
            <pc:docMk/>
            <pc:sldMk cId="3589806354" sldId="678"/>
            <ac:picMk id="3074" creationId="{2130B75C-9C3B-00FC-6C5B-6BD75C6EC32A}"/>
          </ac:picMkLst>
        </pc:picChg>
      </pc:sldChg>
      <pc:sldChg chg="modSp add">
        <pc:chgData name="Thomas Stensitzki" userId="75cafe6b-2f2a-469b-85c4-eec3b9c972ba" providerId="ADAL" clId="{EF5284BB-E924-47D6-B186-EC378FA380D2}" dt="2023-05-25T11:22:38.533" v="4629" actId="1440"/>
        <pc:sldMkLst>
          <pc:docMk/>
          <pc:sldMk cId="3797094460" sldId="679"/>
        </pc:sldMkLst>
        <pc:picChg chg="mod">
          <ac:chgData name="Thomas Stensitzki" userId="75cafe6b-2f2a-469b-85c4-eec3b9c972ba" providerId="ADAL" clId="{EF5284BB-E924-47D6-B186-EC378FA380D2}" dt="2023-05-25T11:22:38.533" v="4629" actId="1440"/>
          <ac:picMkLst>
            <pc:docMk/>
            <pc:sldMk cId="3797094460" sldId="679"/>
            <ac:picMk id="3074" creationId="{2130B75C-9C3B-00FC-6C5B-6BD75C6EC32A}"/>
          </ac:picMkLst>
        </pc:picChg>
      </pc:sldChg>
      <pc:sldChg chg="del">
        <pc:chgData name="Thomas Stensitzki" userId="75cafe6b-2f2a-469b-85c4-eec3b9c972ba" providerId="ADAL" clId="{EF5284BB-E924-47D6-B186-EC378FA380D2}" dt="2023-04-22T12:48:27.349" v="16" actId="47"/>
        <pc:sldMkLst>
          <pc:docMk/>
          <pc:sldMk cId="3925627864" sldId="679"/>
        </pc:sldMkLst>
      </pc:sldChg>
      <pc:sldChg chg="addSp delSp modSp add mod modAnim modNotesTx">
        <pc:chgData name="Thomas Stensitzki" userId="75cafe6b-2f2a-469b-85c4-eec3b9c972ba" providerId="ADAL" clId="{EF5284BB-E924-47D6-B186-EC378FA380D2}" dt="2023-05-25T11:22:35.139" v="4628" actId="1440"/>
        <pc:sldMkLst>
          <pc:docMk/>
          <pc:sldMk cId="3004964480" sldId="680"/>
        </pc:sldMkLst>
        <pc:spChg chg="mod">
          <ac:chgData name="Thomas Stensitzki" userId="75cafe6b-2f2a-469b-85c4-eec3b9c972ba" providerId="ADAL" clId="{EF5284BB-E924-47D6-B186-EC378FA380D2}" dt="2023-05-16T13:57:42.940" v="2471"/>
          <ac:spMkLst>
            <pc:docMk/>
            <pc:sldMk cId="3004964480" sldId="680"/>
            <ac:spMk id="2" creationId="{2267CE1F-D14D-08BA-6A1B-E8294D7B635F}"/>
          </ac:spMkLst>
        </pc:spChg>
        <pc:spChg chg="add mod">
          <ac:chgData name="Thomas Stensitzki" userId="75cafe6b-2f2a-469b-85c4-eec3b9c972ba" providerId="ADAL" clId="{EF5284BB-E924-47D6-B186-EC378FA380D2}" dt="2023-05-25T11:17:06.243" v="4328" actId="1076"/>
          <ac:spMkLst>
            <pc:docMk/>
            <pc:sldMk cId="3004964480" sldId="680"/>
            <ac:spMk id="3" creationId="{203E6687-3CB7-4137-EE4B-726F3A601D6A}"/>
          </ac:spMkLst>
        </pc:spChg>
        <pc:spChg chg="add mod">
          <ac:chgData name="Thomas Stensitzki" userId="75cafe6b-2f2a-469b-85c4-eec3b9c972ba" providerId="ADAL" clId="{EF5284BB-E924-47D6-B186-EC378FA380D2}" dt="2023-05-25T11:17:28.379" v="4331" actId="1076"/>
          <ac:spMkLst>
            <pc:docMk/>
            <pc:sldMk cId="3004964480" sldId="680"/>
            <ac:spMk id="4" creationId="{794DA02E-B868-A144-6DD1-870D371D10D1}"/>
          </ac:spMkLst>
        </pc:spChg>
        <pc:picChg chg="del">
          <ac:chgData name="Thomas Stensitzki" userId="75cafe6b-2f2a-469b-85c4-eec3b9c972ba" providerId="ADAL" clId="{EF5284BB-E924-47D6-B186-EC378FA380D2}" dt="2023-05-16T13:57:44.624" v="2472" actId="478"/>
          <ac:picMkLst>
            <pc:docMk/>
            <pc:sldMk cId="3004964480" sldId="680"/>
            <ac:picMk id="3074" creationId="{2130B75C-9C3B-00FC-6C5B-6BD75C6EC32A}"/>
          </ac:picMkLst>
        </pc:picChg>
        <pc:picChg chg="add mod">
          <ac:chgData name="Thomas Stensitzki" userId="75cafe6b-2f2a-469b-85c4-eec3b9c972ba" providerId="ADAL" clId="{EF5284BB-E924-47D6-B186-EC378FA380D2}" dt="2023-05-25T11:22:35.139" v="4628" actId="1440"/>
          <ac:picMkLst>
            <pc:docMk/>
            <pc:sldMk cId="3004964480" sldId="680"/>
            <ac:picMk id="4098" creationId="{FB99E55D-5EB5-FEF5-8E50-DD55BE06C448}"/>
          </ac:picMkLst>
        </pc:picChg>
      </pc:sldChg>
      <pc:sldChg chg="del">
        <pc:chgData name="Thomas Stensitzki" userId="75cafe6b-2f2a-469b-85c4-eec3b9c972ba" providerId="ADAL" clId="{EF5284BB-E924-47D6-B186-EC378FA380D2}" dt="2023-04-22T12:48:27.349" v="16" actId="47"/>
        <pc:sldMkLst>
          <pc:docMk/>
          <pc:sldMk cId="3798798789" sldId="680"/>
        </pc:sldMkLst>
      </pc:sldChg>
      <pc:sldChg chg="addSp delSp modSp add mod modNotesTx">
        <pc:chgData name="Thomas Stensitzki" userId="75cafe6b-2f2a-469b-85c4-eec3b9c972ba" providerId="ADAL" clId="{EF5284BB-E924-47D6-B186-EC378FA380D2}" dt="2023-05-16T14:01:55.485" v="2501" actId="1076"/>
        <pc:sldMkLst>
          <pc:docMk/>
          <pc:sldMk cId="2318316286" sldId="681"/>
        </pc:sldMkLst>
        <pc:spChg chg="mod">
          <ac:chgData name="Thomas Stensitzki" userId="75cafe6b-2f2a-469b-85c4-eec3b9c972ba" providerId="ADAL" clId="{EF5284BB-E924-47D6-B186-EC378FA380D2}" dt="2023-05-16T14:00:40.544" v="2486"/>
          <ac:spMkLst>
            <pc:docMk/>
            <pc:sldMk cId="2318316286" sldId="681"/>
            <ac:spMk id="2" creationId="{2267CE1F-D14D-08BA-6A1B-E8294D7B635F}"/>
          </ac:spMkLst>
        </pc:spChg>
        <pc:picChg chg="del">
          <ac:chgData name="Thomas Stensitzki" userId="75cafe6b-2f2a-469b-85c4-eec3b9c972ba" providerId="ADAL" clId="{EF5284BB-E924-47D6-B186-EC378FA380D2}" dt="2023-05-16T14:00:41.915" v="2487" actId="478"/>
          <ac:picMkLst>
            <pc:docMk/>
            <pc:sldMk cId="2318316286" sldId="681"/>
            <ac:picMk id="4098" creationId="{FB99E55D-5EB5-FEF5-8E50-DD55BE06C448}"/>
          </ac:picMkLst>
        </pc:picChg>
        <pc:picChg chg="add mod">
          <ac:chgData name="Thomas Stensitzki" userId="75cafe6b-2f2a-469b-85c4-eec3b9c972ba" providerId="ADAL" clId="{EF5284BB-E924-47D6-B186-EC378FA380D2}" dt="2023-05-16T14:00:52.258" v="2490" actId="1076"/>
          <ac:picMkLst>
            <pc:docMk/>
            <pc:sldMk cId="2318316286" sldId="681"/>
            <ac:picMk id="5122" creationId="{C023A9B9-0201-06B5-75AC-B6EBA8EBCFCA}"/>
          </ac:picMkLst>
        </pc:picChg>
        <pc:picChg chg="add mod">
          <ac:chgData name="Thomas Stensitzki" userId="75cafe6b-2f2a-469b-85c4-eec3b9c972ba" providerId="ADAL" clId="{EF5284BB-E924-47D6-B186-EC378FA380D2}" dt="2023-05-16T14:01:55.485" v="2501" actId="1076"/>
          <ac:picMkLst>
            <pc:docMk/>
            <pc:sldMk cId="2318316286" sldId="681"/>
            <ac:picMk id="5124" creationId="{32F410A2-3C1E-5D63-7114-0A4C8EE34210}"/>
          </ac:picMkLst>
        </pc:picChg>
      </pc:sldChg>
      <pc:sldChg chg="del">
        <pc:chgData name="Thomas Stensitzki" userId="75cafe6b-2f2a-469b-85c4-eec3b9c972ba" providerId="ADAL" clId="{EF5284BB-E924-47D6-B186-EC378FA380D2}" dt="2023-04-22T12:48:27.349" v="16" actId="47"/>
        <pc:sldMkLst>
          <pc:docMk/>
          <pc:sldMk cId="3850999508" sldId="681"/>
        </pc:sldMkLst>
      </pc:sldChg>
      <pc:sldChg chg="del">
        <pc:chgData name="Thomas Stensitzki" userId="75cafe6b-2f2a-469b-85c4-eec3b9c972ba" providerId="ADAL" clId="{EF5284BB-E924-47D6-B186-EC378FA380D2}" dt="2023-04-22T12:48:27.349" v="16" actId="47"/>
        <pc:sldMkLst>
          <pc:docMk/>
          <pc:sldMk cId="2152297632" sldId="682"/>
        </pc:sldMkLst>
      </pc:sldChg>
      <pc:sldChg chg="modSp new mod">
        <pc:chgData name="Thomas Stensitzki" userId="75cafe6b-2f2a-469b-85c4-eec3b9c972ba" providerId="ADAL" clId="{EF5284BB-E924-47D6-B186-EC378FA380D2}" dt="2023-05-25T11:20:49.041" v="4601" actId="6549"/>
        <pc:sldMkLst>
          <pc:docMk/>
          <pc:sldMk cId="4114483723" sldId="682"/>
        </pc:sldMkLst>
        <pc:spChg chg="mod">
          <ac:chgData name="Thomas Stensitzki" userId="75cafe6b-2f2a-469b-85c4-eec3b9c972ba" providerId="ADAL" clId="{EF5284BB-E924-47D6-B186-EC378FA380D2}" dt="2023-05-16T14:02:42.994" v="2505"/>
          <ac:spMkLst>
            <pc:docMk/>
            <pc:sldMk cId="4114483723" sldId="682"/>
            <ac:spMk id="2" creationId="{BA9401AC-C5A7-A4F0-0B41-833FB04D6609}"/>
          </ac:spMkLst>
        </pc:spChg>
        <pc:spChg chg="mod">
          <ac:chgData name="Thomas Stensitzki" userId="75cafe6b-2f2a-469b-85c4-eec3b9c972ba" providerId="ADAL" clId="{EF5284BB-E924-47D6-B186-EC378FA380D2}" dt="2023-05-25T11:20:49.041" v="4601" actId="6549"/>
          <ac:spMkLst>
            <pc:docMk/>
            <pc:sldMk cId="4114483723" sldId="682"/>
            <ac:spMk id="3" creationId="{151AB954-4459-8C1F-BCDF-58081CBBDB4F}"/>
          </ac:spMkLst>
        </pc:spChg>
      </pc:sldChg>
      <pc:sldChg chg="del">
        <pc:chgData name="Thomas Stensitzki" userId="75cafe6b-2f2a-469b-85c4-eec3b9c972ba" providerId="ADAL" clId="{EF5284BB-E924-47D6-B186-EC378FA380D2}" dt="2023-04-22T12:48:27.349" v="16" actId="47"/>
        <pc:sldMkLst>
          <pc:docMk/>
          <pc:sldMk cId="476894528" sldId="683"/>
        </pc:sldMkLst>
      </pc:sldChg>
      <pc:sldChg chg="addSp modSp new mod modNotesTx">
        <pc:chgData name="Thomas Stensitzki" userId="75cafe6b-2f2a-469b-85c4-eec3b9c972ba" providerId="ADAL" clId="{EF5284BB-E924-47D6-B186-EC378FA380D2}" dt="2023-05-25T08:37:10.833" v="3528" actId="6549"/>
        <pc:sldMkLst>
          <pc:docMk/>
          <pc:sldMk cId="3010415139" sldId="683"/>
        </pc:sldMkLst>
        <pc:spChg chg="mod">
          <ac:chgData name="Thomas Stensitzki" userId="75cafe6b-2f2a-469b-85c4-eec3b9c972ba" providerId="ADAL" clId="{EF5284BB-E924-47D6-B186-EC378FA380D2}" dt="2023-05-16T14:04:01.342" v="2512"/>
          <ac:spMkLst>
            <pc:docMk/>
            <pc:sldMk cId="3010415139" sldId="683"/>
            <ac:spMk id="2" creationId="{E090DCA6-2DC7-EFD8-AF36-A4899C1BF69F}"/>
          </ac:spMkLst>
        </pc:spChg>
        <pc:spChg chg="mod">
          <ac:chgData name="Thomas Stensitzki" userId="75cafe6b-2f2a-469b-85c4-eec3b9c972ba" providerId="ADAL" clId="{EF5284BB-E924-47D6-B186-EC378FA380D2}" dt="2023-05-25T08:37:08.534" v="3527" actId="20577"/>
          <ac:spMkLst>
            <pc:docMk/>
            <pc:sldMk cId="3010415139" sldId="683"/>
            <ac:spMk id="3" creationId="{C24E32EC-AD7A-1EF6-5959-C3B95F0A9542}"/>
          </ac:spMkLst>
        </pc:spChg>
        <pc:picChg chg="add mod">
          <ac:chgData name="Thomas Stensitzki" userId="75cafe6b-2f2a-469b-85c4-eec3b9c972ba" providerId="ADAL" clId="{EF5284BB-E924-47D6-B186-EC378FA380D2}" dt="2023-05-25T08:35:06.200" v="3340" actId="1440"/>
          <ac:picMkLst>
            <pc:docMk/>
            <pc:sldMk cId="3010415139" sldId="683"/>
            <ac:picMk id="5" creationId="{DF7306AB-6CBC-D184-F187-84E9F00A8505}"/>
          </ac:picMkLst>
        </pc:picChg>
      </pc:sldChg>
      <pc:sldChg chg="modSp new mod modNotesTx">
        <pc:chgData name="Thomas Stensitzki" userId="75cafe6b-2f2a-469b-85c4-eec3b9c972ba" providerId="ADAL" clId="{EF5284BB-E924-47D6-B186-EC378FA380D2}" dt="2023-05-25T08:43:25.780" v="3854" actId="6549"/>
        <pc:sldMkLst>
          <pc:docMk/>
          <pc:sldMk cId="1765254123" sldId="684"/>
        </pc:sldMkLst>
        <pc:spChg chg="mod">
          <ac:chgData name="Thomas Stensitzki" userId="75cafe6b-2f2a-469b-85c4-eec3b9c972ba" providerId="ADAL" clId="{EF5284BB-E924-47D6-B186-EC378FA380D2}" dt="2023-05-16T14:05:40.651" v="2540"/>
          <ac:spMkLst>
            <pc:docMk/>
            <pc:sldMk cId="1765254123" sldId="684"/>
            <ac:spMk id="2" creationId="{7DB52A52-7B5D-B204-DC0F-B997FBB81597}"/>
          </ac:spMkLst>
        </pc:spChg>
        <pc:spChg chg="mod">
          <ac:chgData name="Thomas Stensitzki" userId="75cafe6b-2f2a-469b-85c4-eec3b9c972ba" providerId="ADAL" clId="{EF5284BB-E924-47D6-B186-EC378FA380D2}" dt="2023-05-25T08:43:02.655" v="3853"/>
          <ac:spMkLst>
            <pc:docMk/>
            <pc:sldMk cId="1765254123" sldId="684"/>
            <ac:spMk id="3" creationId="{0E618A5E-8BDC-2DAE-F6DE-E832B9BEF4E8}"/>
          </ac:spMkLst>
        </pc:spChg>
      </pc:sldChg>
      <pc:sldChg chg="del">
        <pc:chgData name="Thomas Stensitzki" userId="75cafe6b-2f2a-469b-85c4-eec3b9c972ba" providerId="ADAL" clId="{EF5284BB-E924-47D6-B186-EC378FA380D2}" dt="2023-04-22T12:48:27.349" v="16" actId="47"/>
        <pc:sldMkLst>
          <pc:docMk/>
          <pc:sldMk cId="2385236446" sldId="684"/>
        </pc:sldMkLst>
      </pc:sldChg>
      <pc:sldChg chg="del">
        <pc:chgData name="Thomas Stensitzki" userId="75cafe6b-2f2a-469b-85c4-eec3b9c972ba" providerId="ADAL" clId="{EF5284BB-E924-47D6-B186-EC378FA380D2}" dt="2023-04-22T12:48:27.349" v="16" actId="47"/>
        <pc:sldMkLst>
          <pc:docMk/>
          <pc:sldMk cId="380254688" sldId="685"/>
        </pc:sldMkLst>
      </pc:sldChg>
      <pc:sldChg chg="addSp delSp modSp new mod modAnim">
        <pc:chgData name="Thomas Stensitzki" userId="75cafe6b-2f2a-469b-85c4-eec3b9c972ba" providerId="ADAL" clId="{EF5284BB-E924-47D6-B186-EC378FA380D2}" dt="2023-05-25T08:50:38.861" v="3961"/>
        <pc:sldMkLst>
          <pc:docMk/>
          <pc:sldMk cId="1361138141" sldId="685"/>
        </pc:sldMkLst>
        <pc:spChg chg="mod">
          <ac:chgData name="Thomas Stensitzki" userId="75cafe6b-2f2a-469b-85c4-eec3b9c972ba" providerId="ADAL" clId="{EF5284BB-E924-47D6-B186-EC378FA380D2}" dt="2023-05-16T14:08:00.156" v="2554"/>
          <ac:spMkLst>
            <pc:docMk/>
            <pc:sldMk cId="1361138141" sldId="685"/>
            <ac:spMk id="2" creationId="{C9F6A9DF-05DE-8830-8DF5-2280D1CF710A}"/>
          </ac:spMkLst>
        </pc:spChg>
        <pc:spChg chg="mod">
          <ac:chgData name="Thomas Stensitzki" userId="75cafe6b-2f2a-469b-85c4-eec3b9c972ba" providerId="ADAL" clId="{EF5284BB-E924-47D6-B186-EC378FA380D2}" dt="2023-05-25T08:50:38.861" v="3961"/>
          <ac:spMkLst>
            <pc:docMk/>
            <pc:sldMk cId="1361138141" sldId="685"/>
            <ac:spMk id="3" creationId="{DAFAF2E8-7441-9309-2A91-F240662E9AD1}"/>
          </ac:spMkLst>
        </pc:spChg>
        <pc:spChg chg="add del">
          <ac:chgData name="Thomas Stensitzki" userId="75cafe6b-2f2a-469b-85c4-eec3b9c972ba" providerId="ADAL" clId="{EF5284BB-E924-47D6-B186-EC378FA380D2}" dt="2023-05-25T08:48:13.135" v="3929" actId="22"/>
          <ac:spMkLst>
            <pc:docMk/>
            <pc:sldMk cId="1361138141" sldId="685"/>
            <ac:spMk id="5" creationId="{E63B0217-DCF0-0106-B0AC-02F4D4EFB9DE}"/>
          </ac:spMkLst>
        </pc:spChg>
        <pc:spChg chg="add mod">
          <ac:chgData name="Thomas Stensitzki" userId="75cafe6b-2f2a-469b-85c4-eec3b9c972ba" providerId="ADAL" clId="{EF5284BB-E924-47D6-B186-EC378FA380D2}" dt="2023-05-25T08:48:54.108" v="3935" actId="1076"/>
          <ac:spMkLst>
            <pc:docMk/>
            <pc:sldMk cId="1361138141" sldId="685"/>
            <ac:spMk id="8" creationId="{458DC333-5E07-7964-7BFE-5B8AB11DF37A}"/>
          </ac:spMkLst>
        </pc:spChg>
        <pc:picChg chg="add mod">
          <ac:chgData name="Thomas Stensitzki" userId="75cafe6b-2f2a-469b-85c4-eec3b9c972ba" providerId="ADAL" clId="{EF5284BB-E924-47D6-B186-EC378FA380D2}" dt="2023-05-25T08:48:27.139" v="3933" actId="1440"/>
          <ac:picMkLst>
            <pc:docMk/>
            <pc:sldMk cId="1361138141" sldId="685"/>
            <ac:picMk id="7" creationId="{DB2877FD-72CC-C746-33C8-C557506B26F5}"/>
          </ac:picMkLst>
        </pc:picChg>
      </pc:sldChg>
      <pc:sldChg chg="addSp delSp modSp new mod modNotesTx">
        <pc:chgData name="Thomas Stensitzki" userId="75cafe6b-2f2a-469b-85c4-eec3b9c972ba" providerId="ADAL" clId="{EF5284BB-E924-47D6-B186-EC378FA380D2}" dt="2023-05-25T11:22:30.729" v="4627" actId="1440"/>
        <pc:sldMkLst>
          <pc:docMk/>
          <pc:sldMk cId="1099908272" sldId="686"/>
        </pc:sldMkLst>
        <pc:spChg chg="mod">
          <ac:chgData name="Thomas Stensitzki" userId="75cafe6b-2f2a-469b-85c4-eec3b9c972ba" providerId="ADAL" clId="{EF5284BB-E924-47D6-B186-EC378FA380D2}" dt="2023-05-16T14:19:00.994" v="2567"/>
          <ac:spMkLst>
            <pc:docMk/>
            <pc:sldMk cId="1099908272" sldId="686"/>
            <ac:spMk id="2" creationId="{9B8F144C-E0AD-BC5F-8848-227CDFE03CC4}"/>
          </ac:spMkLst>
        </pc:spChg>
        <pc:spChg chg="del">
          <ac:chgData name="Thomas Stensitzki" userId="75cafe6b-2f2a-469b-85c4-eec3b9c972ba" providerId="ADAL" clId="{EF5284BB-E924-47D6-B186-EC378FA380D2}" dt="2023-05-16T14:19:08.265" v="2568" actId="478"/>
          <ac:spMkLst>
            <pc:docMk/>
            <pc:sldMk cId="1099908272" sldId="686"/>
            <ac:spMk id="3" creationId="{AB585898-60DD-993F-3929-F74315FACD23}"/>
          </ac:spMkLst>
        </pc:spChg>
        <pc:picChg chg="add mod">
          <ac:chgData name="Thomas Stensitzki" userId="75cafe6b-2f2a-469b-85c4-eec3b9c972ba" providerId="ADAL" clId="{EF5284BB-E924-47D6-B186-EC378FA380D2}" dt="2023-05-25T11:22:30.729" v="4627" actId="1440"/>
          <ac:picMkLst>
            <pc:docMk/>
            <pc:sldMk cId="1099908272" sldId="686"/>
            <ac:picMk id="6146" creationId="{E65927FB-932C-A269-31F5-37E00FD4CC40}"/>
          </ac:picMkLst>
        </pc:picChg>
      </pc:sldChg>
      <pc:sldChg chg="del">
        <pc:chgData name="Thomas Stensitzki" userId="75cafe6b-2f2a-469b-85c4-eec3b9c972ba" providerId="ADAL" clId="{EF5284BB-E924-47D6-B186-EC378FA380D2}" dt="2023-04-22T12:48:27.349" v="16" actId="47"/>
        <pc:sldMkLst>
          <pc:docMk/>
          <pc:sldMk cId="1151479395" sldId="686"/>
        </pc:sldMkLst>
      </pc:sldChg>
      <pc:sldChg chg="addSp delSp modSp new mod modNotesTx">
        <pc:chgData name="Thomas Stensitzki" userId="75cafe6b-2f2a-469b-85c4-eec3b9c972ba" providerId="ADAL" clId="{EF5284BB-E924-47D6-B186-EC378FA380D2}" dt="2023-05-25T11:26:09.045" v="4645" actId="1440"/>
        <pc:sldMkLst>
          <pc:docMk/>
          <pc:sldMk cId="2682737613" sldId="687"/>
        </pc:sldMkLst>
        <pc:spChg chg="mod">
          <ac:chgData name="Thomas Stensitzki" userId="75cafe6b-2f2a-469b-85c4-eec3b9c972ba" providerId="ADAL" clId="{EF5284BB-E924-47D6-B186-EC378FA380D2}" dt="2023-05-16T14:21:03.018" v="2577"/>
          <ac:spMkLst>
            <pc:docMk/>
            <pc:sldMk cId="2682737613" sldId="687"/>
            <ac:spMk id="2" creationId="{B68D9ABF-307E-E24E-EC5A-428BCB6837C6}"/>
          </ac:spMkLst>
        </pc:spChg>
        <pc:spChg chg="del">
          <ac:chgData name="Thomas Stensitzki" userId="75cafe6b-2f2a-469b-85c4-eec3b9c972ba" providerId="ADAL" clId="{EF5284BB-E924-47D6-B186-EC378FA380D2}" dt="2023-05-16T14:21:04.964" v="2578" actId="478"/>
          <ac:spMkLst>
            <pc:docMk/>
            <pc:sldMk cId="2682737613" sldId="687"/>
            <ac:spMk id="3" creationId="{DD768D13-CBA5-32A5-CD7A-9794C12C8CDA}"/>
          </ac:spMkLst>
        </pc:spChg>
        <pc:picChg chg="add mod">
          <ac:chgData name="Thomas Stensitzki" userId="75cafe6b-2f2a-469b-85c4-eec3b9c972ba" providerId="ADAL" clId="{EF5284BB-E924-47D6-B186-EC378FA380D2}" dt="2023-05-25T11:26:09.045" v="4645" actId="1440"/>
          <ac:picMkLst>
            <pc:docMk/>
            <pc:sldMk cId="2682737613" sldId="687"/>
            <ac:picMk id="7170" creationId="{DC4F6B9A-2A81-3985-B1F2-4CDDF3664E1B}"/>
          </ac:picMkLst>
        </pc:picChg>
      </pc:sldChg>
      <pc:sldChg chg="del">
        <pc:chgData name="Thomas Stensitzki" userId="75cafe6b-2f2a-469b-85c4-eec3b9c972ba" providerId="ADAL" clId="{EF5284BB-E924-47D6-B186-EC378FA380D2}" dt="2023-04-22T12:48:27.349" v="16" actId="47"/>
        <pc:sldMkLst>
          <pc:docMk/>
          <pc:sldMk cId="3396655959" sldId="687"/>
        </pc:sldMkLst>
      </pc:sldChg>
      <pc:sldChg chg="modSp add modNotesTx">
        <pc:chgData name="Thomas Stensitzki" userId="75cafe6b-2f2a-469b-85c4-eec3b9c972ba" providerId="ADAL" clId="{EF5284BB-E924-47D6-B186-EC378FA380D2}" dt="2023-05-25T11:26:14.482" v="4646" actId="1440"/>
        <pc:sldMkLst>
          <pc:docMk/>
          <pc:sldMk cId="2943637064" sldId="688"/>
        </pc:sldMkLst>
        <pc:picChg chg="mod">
          <ac:chgData name="Thomas Stensitzki" userId="75cafe6b-2f2a-469b-85c4-eec3b9c972ba" providerId="ADAL" clId="{EF5284BB-E924-47D6-B186-EC378FA380D2}" dt="2023-05-25T11:26:14.482" v="4646" actId="1440"/>
          <ac:picMkLst>
            <pc:docMk/>
            <pc:sldMk cId="2943637064" sldId="688"/>
            <ac:picMk id="7170" creationId="{DC4F6B9A-2A81-3985-B1F2-4CDDF3664E1B}"/>
          </ac:picMkLst>
        </pc:picChg>
      </pc:sldChg>
      <pc:sldChg chg="del">
        <pc:chgData name="Thomas Stensitzki" userId="75cafe6b-2f2a-469b-85c4-eec3b9c972ba" providerId="ADAL" clId="{EF5284BB-E924-47D6-B186-EC378FA380D2}" dt="2023-04-22T12:48:27.349" v="16" actId="47"/>
        <pc:sldMkLst>
          <pc:docMk/>
          <pc:sldMk cId="3879280141" sldId="688"/>
        </pc:sldMkLst>
      </pc:sldChg>
      <pc:sldChg chg="del">
        <pc:chgData name="Thomas Stensitzki" userId="75cafe6b-2f2a-469b-85c4-eec3b9c972ba" providerId="ADAL" clId="{EF5284BB-E924-47D6-B186-EC378FA380D2}" dt="2023-04-22T12:48:08.972" v="14" actId="47"/>
        <pc:sldMkLst>
          <pc:docMk/>
          <pc:sldMk cId="882736164" sldId="689"/>
        </pc:sldMkLst>
      </pc:sldChg>
      <pc:sldChg chg="addSp delSp modSp add modAnim modNotesTx">
        <pc:chgData name="Thomas Stensitzki" userId="75cafe6b-2f2a-469b-85c4-eec3b9c972ba" providerId="ADAL" clId="{EF5284BB-E924-47D6-B186-EC378FA380D2}" dt="2023-05-25T11:26:16.250" v="4647" actId="1440"/>
        <pc:sldMkLst>
          <pc:docMk/>
          <pc:sldMk cId="4179798793" sldId="689"/>
        </pc:sldMkLst>
        <pc:spChg chg="add del mod">
          <ac:chgData name="Thomas Stensitzki" userId="75cafe6b-2f2a-469b-85c4-eec3b9c972ba" providerId="ADAL" clId="{EF5284BB-E924-47D6-B186-EC378FA380D2}" dt="2023-05-25T08:58:48.326" v="4008"/>
          <ac:spMkLst>
            <pc:docMk/>
            <pc:sldMk cId="4179798793" sldId="689"/>
            <ac:spMk id="3" creationId="{360BAEA0-EF61-4990-9887-8C49518E5AC5}"/>
          </ac:spMkLst>
        </pc:spChg>
        <pc:picChg chg="mod">
          <ac:chgData name="Thomas Stensitzki" userId="75cafe6b-2f2a-469b-85c4-eec3b9c972ba" providerId="ADAL" clId="{EF5284BB-E924-47D6-B186-EC378FA380D2}" dt="2023-05-25T11:26:16.250" v="4647" actId="1440"/>
          <ac:picMkLst>
            <pc:docMk/>
            <pc:sldMk cId="4179798793" sldId="689"/>
            <ac:picMk id="7170" creationId="{DC4F6B9A-2A81-3985-B1F2-4CDDF3664E1B}"/>
          </ac:picMkLst>
        </pc:picChg>
      </pc:sldChg>
      <pc:sldChg chg="del">
        <pc:chgData name="Thomas Stensitzki" userId="75cafe6b-2f2a-469b-85c4-eec3b9c972ba" providerId="ADAL" clId="{EF5284BB-E924-47D6-B186-EC378FA380D2}" dt="2023-04-22T12:48:08.972" v="14" actId="47"/>
        <pc:sldMkLst>
          <pc:docMk/>
          <pc:sldMk cId="2999548056" sldId="690"/>
        </pc:sldMkLst>
      </pc:sldChg>
      <pc:sldChg chg="addSp modSp add mod modAnim modNotesTx">
        <pc:chgData name="Thomas Stensitzki" userId="75cafe6b-2f2a-469b-85c4-eec3b9c972ba" providerId="ADAL" clId="{EF5284BB-E924-47D6-B186-EC378FA380D2}" dt="2023-05-25T11:26:17.729" v="4648" actId="1440"/>
        <pc:sldMkLst>
          <pc:docMk/>
          <pc:sldMk cId="3467191386" sldId="690"/>
        </pc:sldMkLst>
        <pc:spChg chg="add mod">
          <ac:chgData name="Thomas Stensitzki" userId="75cafe6b-2f2a-469b-85c4-eec3b9c972ba" providerId="ADAL" clId="{EF5284BB-E924-47D6-B186-EC378FA380D2}" dt="2023-05-25T08:58:41.642" v="4006" actId="1076"/>
          <ac:spMkLst>
            <pc:docMk/>
            <pc:sldMk cId="3467191386" sldId="690"/>
            <ac:spMk id="3" creationId="{CB3F86C2-E560-8B7C-2508-31BC7EF5599F}"/>
          </ac:spMkLst>
        </pc:spChg>
        <pc:picChg chg="mod">
          <ac:chgData name="Thomas Stensitzki" userId="75cafe6b-2f2a-469b-85c4-eec3b9c972ba" providerId="ADAL" clId="{EF5284BB-E924-47D6-B186-EC378FA380D2}" dt="2023-05-25T11:26:17.729" v="4648" actId="1440"/>
          <ac:picMkLst>
            <pc:docMk/>
            <pc:sldMk cId="3467191386" sldId="690"/>
            <ac:picMk id="7170" creationId="{DC4F6B9A-2A81-3985-B1F2-4CDDF3664E1B}"/>
          </ac:picMkLst>
        </pc:picChg>
      </pc:sldChg>
      <pc:sldChg chg="addSp modSp add mod modAnim">
        <pc:chgData name="Thomas Stensitzki" userId="75cafe6b-2f2a-469b-85c4-eec3b9c972ba" providerId="ADAL" clId="{EF5284BB-E924-47D6-B186-EC378FA380D2}" dt="2023-05-25T11:26:20.055" v="4649" actId="1440"/>
        <pc:sldMkLst>
          <pc:docMk/>
          <pc:sldMk cId="3176227063" sldId="691"/>
        </pc:sldMkLst>
        <pc:spChg chg="add mod">
          <ac:chgData name="Thomas Stensitzki" userId="75cafe6b-2f2a-469b-85c4-eec3b9c972ba" providerId="ADAL" clId="{EF5284BB-E924-47D6-B186-EC378FA380D2}" dt="2023-05-25T08:58:04.602" v="4004" actId="1076"/>
          <ac:spMkLst>
            <pc:docMk/>
            <pc:sldMk cId="3176227063" sldId="691"/>
            <ac:spMk id="3" creationId="{A58DA3B1-E3E1-F4D5-90E5-5D72A4ED1005}"/>
          </ac:spMkLst>
        </pc:spChg>
        <pc:picChg chg="mod">
          <ac:chgData name="Thomas Stensitzki" userId="75cafe6b-2f2a-469b-85c4-eec3b9c972ba" providerId="ADAL" clId="{EF5284BB-E924-47D6-B186-EC378FA380D2}" dt="2023-05-25T11:26:20.055" v="4649" actId="1440"/>
          <ac:picMkLst>
            <pc:docMk/>
            <pc:sldMk cId="3176227063" sldId="691"/>
            <ac:picMk id="7170" creationId="{DC4F6B9A-2A81-3985-B1F2-4CDDF3664E1B}"/>
          </ac:picMkLst>
        </pc:picChg>
      </pc:sldChg>
      <pc:sldChg chg="del">
        <pc:chgData name="Thomas Stensitzki" userId="75cafe6b-2f2a-469b-85c4-eec3b9c972ba" providerId="ADAL" clId="{EF5284BB-E924-47D6-B186-EC378FA380D2}" dt="2023-04-22T12:48:15.704" v="15" actId="47"/>
        <pc:sldMkLst>
          <pc:docMk/>
          <pc:sldMk cId="3382179983" sldId="691"/>
        </pc:sldMkLst>
      </pc:sldChg>
      <pc:sldChg chg="modSp add modNotesTx">
        <pc:chgData name="Thomas Stensitzki" userId="75cafe6b-2f2a-469b-85c4-eec3b9c972ba" providerId="ADAL" clId="{EF5284BB-E924-47D6-B186-EC378FA380D2}" dt="2023-05-25T11:26:21.570" v="4650" actId="1440"/>
        <pc:sldMkLst>
          <pc:docMk/>
          <pc:sldMk cId="2332237802" sldId="692"/>
        </pc:sldMkLst>
        <pc:picChg chg="mod">
          <ac:chgData name="Thomas Stensitzki" userId="75cafe6b-2f2a-469b-85c4-eec3b9c972ba" providerId="ADAL" clId="{EF5284BB-E924-47D6-B186-EC378FA380D2}" dt="2023-05-25T11:26:21.570" v="4650" actId="1440"/>
          <ac:picMkLst>
            <pc:docMk/>
            <pc:sldMk cId="2332237802" sldId="692"/>
            <ac:picMk id="7170" creationId="{DC4F6B9A-2A81-3985-B1F2-4CDDF3664E1B}"/>
          </ac:picMkLst>
        </pc:picChg>
      </pc:sldChg>
      <pc:sldChg chg="del">
        <pc:chgData name="Thomas Stensitzki" userId="75cafe6b-2f2a-469b-85c4-eec3b9c972ba" providerId="ADAL" clId="{EF5284BB-E924-47D6-B186-EC378FA380D2}" dt="2023-04-22T12:48:15.704" v="15" actId="47"/>
        <pc:sldMkLst>
          <pc:docMk/>
          <pc:sldMk cId="2967036620" sldId="692"/>
        </pc:sldMkLst>
      </pc:sldChg>
      <pc:sldChg chg="del">
        <pc:chgData name="Thomas Stensitzki" userId="75cafe6b-2f2a-469b-85c4-eec3b9c972ba" providerId="ADAL" clId="{EF5284BB-E924-47D6-B186-EC378FA380D2}" dt="2023-04-22T12:48:15.704" v="15" actId="47"/>
        <pc:sldMkLst>
          <pc:docMk/>
          <pc:sldMk cId="48805967" sldId="693"/>
        </pc:sldMkLst>
      </pc:sldChg>
      <pc:sldChg chg="addSp delSp modSp add modAnim modNotesTx">
        <pc:chgData name="Thomas Stensitzki" userId="75cafe6b-2f2a-469b-85c4-eec3b9c972ba" providerId="ADAL" clId="{EF5284BB-E924-47D6-B186-EC378FA380D2}" dt="2023-05-25T11:26:23.071" v="4651" actId="1440"/>
        <pc:sldMkLst>
          <pc:docMk/>
          <pc:sldMk cId="452218326" sldId="693"/>
        </pc:sldMkLst>
        <pc:spChg chg="add del mod">
          <ac:chgData name="Thomas Stensitzki" userId="75cafe6b-2f2a-469b-85c4-eec3b9c972ba" providerId="ADAL" clId="{EF5284BB-E924-47D6-B186-EC378FA380D2}" dt="2023-05-25T08:57:16.914" v="4000"/>
          <ac:spMkLst>
            <pc:docMk/>
            <pc:sldMk cId="452218326" sldId="693"/>
            <ac:spMk id="3" creationId="{8AA9D125-2712-380D-B106-2E27AA459503}"/>
          </ac:spMkLst>
        </pc:spChg>
        <pc:picChg chg="mod">
          <ac:chgData name="Thomas Stensitzki" userId="75cafe6b-2f2a-469b-85c4-eec3b9c972ba" providerId="ADAL" clId="{EF5284BB-E924-47D6-B186-EC378FA380D2}" dt="2023-05-25T11:26:23.071" v="4651" actId="1440"/>
          <ac:picMkLst>
            <pc:docMk/>
            <pc:sldMk cId="452218326" sldId="693"/>
            <ac:picMk id="7170" creationId="{DC4F6B9A-2A81-3985-B1F2-4CDDF3664E1B}"/>
          </ac:picMkLst>
        </pc:picChg>
      </pc:sldChg>
      <pc:sldChg chg="addSp modSp add mod modAnim modNotesTx">
        <pc:chgData name="Thomas Stensitzki" userId="75cafe6b-2f2a-469b-85c4-eec3b9c972ba" providerId="ADAL" clId="{EF5284BB-E924-47D6-B186-EC378FA380D2}" dt="2023-05-25T11:26:24.587" v="4652" actId="1440"/>
        <pc:sldMkLst>
          <pc:docMk/>
          <pc:sldMk cId="1161338400" sldId="694"/>
        </pc:sldMkLst>
        <pc:spChg chg="add mod">
          <ac:chgData name="Thomas Stensitzki" userId="75cafe6b-2f2a-469b-85c4-eec3b9c972ba" providerId="ADAL" clId="{EF5284BB-E924-47D6-B186-EC378FA380D2}" dt="2023-05-25T08:57:08.583" v="3998" actId="1076"/>
          <ac:spMkLst>
            <pc:docMk/>
            <pc:sldMk cId="1161338400" sldId="694"/>
            <ac:spMk id="3" creationId="{1252C631-A0D2-03C5-DCAE-913207590E3A}"/>
          </ac:spMkLst>
        </pc:spChg>
        <pc:picChg chg="mod">
          <ac:chgData name="Thomas Stensitzki" userId="75cafe6b-2f2a-469b-85c4-eec3b9c972ba" providerId="ADAL" clId="{EF5284BB-E924-47D6-B186-EC378FA380D2}" dt="2023-05-25T11:26:24.587" v="4652" actId="1440"/>
          <ac:picMkLst>
            <pc:docMk/>
            <pc:sldMk cId="1161338400" sldId="694"/>
            <ac:picMk id="7170" creationId="{DC4F6B9A-2A81-3985-B1F2-4CDDF3664E1B}"/>
          </ac:picMkLst>
        </pc:picChg>
      </pc:sldChg>
      <pc:sldChg chg="del">
        <pc:chgData name="Thomas Stensitzki" userId="75cafe6b-2f2a-469b-85c4-eec3b9c972ba" providerId="ADAL" clId="{EF5284BB-E924-47D6-B186-EC378FA380D2}" dt="2023-04-22T12:48:15.704" v="15" actId="47"/>
        <pc:sldMkLst>
          <pc:docMk/>
          <pc:sldMk cId="1294646207" sldId="694"/>
        </pc:sldMkLst>
      </pc:sldChg>
      <pc:sldChg chg="modSp add modNotesTx">
        <pc:chgData name="Thomas Stensitzki" userId="75cafe6b-2f2a-469b-85c4-eec3b9c972ba" providerId="ADAL" clId="{EF5284BB-E924-47D6-B186-EC378FA380D2}" dt="2023-05-16T14:25:13.166" v="2618" actId="14826"/>
        <pc:sldMkLst>
          <pc:docMk/>
          <pc:sldMk cId="3643256137" sldId="695"/>
        </pc:sldMkLst>
        <pc:picChg chg="mod">
          <ac:chgData name="Thomas Stensitzki" userId="75cafe6b-2f2a-469b-85c4-eec3b9c972ba" providerId="ADAL" clId="{EF5284BB-E924-47D6-B186-EC378FA380D2}" dt="2023-05-16T14:25:13.166" v="2618" actId="14826"/>
          <ac:picMkLst>
            <pc:docMk/>
            <pc:sldMk cId="3643256137" sldId="695"/>
            <ac:picMk id="7170" creationId="{DC4F6B9A-2A81-3985-B1F2-4CDDF3664E1B}"/>
          </ac:picMkLst>
        </pc:picChg>
      </pc:sldChg>
      <pc:sldChg chg="addSp modSp add mod modAnim modNotesTx">
        <pc:chgData name="Thomas Stensitzki" userId="75cafe6b-2f2a-469b-85c4-eec3b9c972ba" providerId="ADAL" clId="{EF5284BB-E924-47D6-B186-EC378FA380D2}" dt="2023-05-25T15:40:53.160" v="5102" actId="1076"/>
        <pc:sldMkLst>
          <pc:docMk/>
          <pc:sldMk cId="3372974903" sldId="696"/>
        </pc:sldMkLst>
        <pc:spChg chg="add mod">
          <ac:chgData name="Thomas Stensitzki" userId="75cafe6b-2f2a-469b-85c4-eec3b9c972ba" providerId="ADAL" clId="{EF5284BB-E924-47D6-B186-EC378FA380D2}" dt="2023-05-25T15:40:53.160" v="5102" actId="1076"/>
          <ac:spMkLst>
            <pc:docMk/>
            <pc:sldMk cId="3372974903" sldId="696"/>
            <ac:spMk id="3" creationId="{2523297A-1A42-BC7C-44F0-E09B9705B407}"/>
          </ac:spMkLst>
        </pc:spChg>
        <pc:picChg chg="mod">
          <ac:chgData name="Thomas Stensitzki" userId="75cafe6b-2f2a-469b-85c4-eec3b9c972ba" providerId="ADAL" clId="{EF5284BB-E924-47D6-B186-EC378FA380D2}" dt="2023-05-16T14:26:11.626" v="2625" actId="14826"/>
          <ac:picMkLst>
            <pc:docMk/>
            <pc:sldMk cId="3372974903" sldId="696"/>
            <ac:picMk id="7170" creationId="{DC4F6B9A-2A81-3985-B1F2-4CDDF3664E1B}"/>
          </ac:picMkLst>
        </pc:picChg>
      </pc:sldChg>
      <pc:sldChg chg="addSp delSp modSp new mod modNotesTx">
        <pc:chgData name="Thomas Stensitzki" userId="75cafe6b-2f2a-469b-85c4-eec3b9c972ba" providerId="ADAL" clId="{EF5284BB-E924-47D6-B186-EC378FA380D2}" dt="2023-05-25T11:22:27.379" v="4626" actId="1440"/>
        <pc:sldMkLst>
          <pc:docMk/>
          <pc:sldMk cId="374091465" sldId="697"/>
        </pc:sldMkLst>
        <pc:spChg chg="mod">
          <ac:chgData name="Thomas Stensitzki" userId="75cafe6b-2f2a-469b-85c4-eec3b9c972ba" providerId="ADAL" clId="{EF5284BB-E924-47D6-B186-EC378FA380D2}" dt="2023-05-16T14:28:39.537" v="2629"/>
          <ac:spMkLst>
            <pc:docMk/>
            <pc:sldMk cId="374091465" sldId="697"/>
            <ac:spMk id="2" creationId="{3ADCC40F-C5BA-B284-3AF8-D6CC46FDD2EF}"/>
          </ac:spMkLst>
        </pc:spChg>
        <pc:spChg chg="del">
          <ac:chgData name="Thomas Stensitzki" userId="75cafe6b-2f2a-469b-85c4-eec3b9c972ba" providerId="ADAL" clId="{EF5284BB-E924-47D6-B186-EC378FA380D2}" dt="2023-05-16T14:28:44.967" v="2630" actId="478"/>
          <ac:spMkLst>
            <pc:docMk/>
            <pc:sldMk cId="374091465" sldId="697"/>
            <ac:spMk id="3" creationId="{16B8C3D8-0F53-5DDC-18B8-D17EE8A04834}"/>
          </ac:spMkLst>
        </pc:spChg>
        <pc:spChg chg="add mod">
          <ac:chgData name="Thomas Stensitzki" userId="75cafe6b-2f2a-469b-85c4-eec3b9c972ba" providerId="ADAL" clId="{EF5284BB-E924-47D6-B186-EC378FA380D2}" dt="2023-05-25T11:22:11.956" v="4622" actId="6549"/>
          <ac:spMkLst>
            <pc:docMk/>
            <pc:sldMk cId="374091465" sldId="697"/>
            <ac:spMk id="3" creationId="{FE2F8A7A-FAB7-4887-6614-4A8D5C5BECFE}"/>
          </ac:spMkLst>
        </pc:spChg>
        <pc:picChg chg="add mod">
          <ac:chgData name="Thomas Stensitzki" userId="75cafe6b-2f2a-469b-85c4-eec3b9c972ba" providerId="ADAL" clId="{EF5284BB-E924-47D6-B186-EC378FA380D2}" dt="2023-05-25T11:22:27.379" v="4626" actId="1440"/>
          <ac:picMkLst>
            <pc:docMk/>
            <pc:sldMk cId="374091465" sldId="697"/>
            <ac:picMk id="8194" creationId="{D8DFAD9D-F2A4-D2DC-A41E-010BDAEC2A63}"/>
          </ac:picMkLst>
        </pc:picChg>
      </pc:sldChg>
      <pc:sldChg chg="modSp add">
        <pc:chgData name="Thomas Stensitzki" userId="75cafe6b-2f2a-469b-85c4-eec3b9c972ba" providerId="ADAL" clId="{EF5284BB-E924-47D6-B186-EC378FA380D2}" dt="2023-05-25T11:22:57.977" v="4635" actId="1440"/>
        <pc:sldMkLst>
          <pc:docMk/>
          <pc:sldMk cId="4258120031" sldId="698"/>
        </pc:sldMkLst>
        <pc:picChg chg="mod">
          <ac:chgData name="Thomas Stensitzki" userId="75cafe6b-2f2a-469b-85c4-eec3b9c972ba" providerId="ADAL" clId="{EF5284BB-E924-47D6-B186-EC378FA380D2}" dt="2023-05-25T11:22:57.977" v="4635" actId="1440"/>
          <ac:picMkLst>
            <pc:docMk/>
            <pc:sldMk cId="4258120031" sldId="698"/>
            <ac:picMk id="8194" creationId="{D8DFAD9D-F2A4-D2DC-A41E-010BDAEC2A63}"/>
          </ac:picMkLst>
        </pc:picChg>
      </pc:sldChg>
      <pc:sldChg chg="modSp add">
        <pc:chgData name="Thomas Stensitzki" userId="75cafe6b-2f2a-469b-85c4-eec3b9c972ba" providerId="ADAL" clId="{EF5284BB-E924-47D6-B186-EC378FA380D2}" dt="2023-05-25T11:22:59.921" v="4636" actId="1440"/>
        <pc:sldMkLst>
          <pc:docMk/>
          <pc:sldMk cId="2743116939" sldId="699"/>
        </pc:sldMkLst>
        <pc:picChg chg="mod">
          <ac:chgData name="Thomas Stensitzki" userId="75cafe6b-2f2a-469b-85c4-eec3b9c972ba" providerId="ADAL" clId="{EF5284BB-E924-47D6-B186-EC378FA380D2}" dt="2023-05-25T11:22:59.921" v="4636" actId="1440"/>
          <ac:picMkLst>
            <pc:docMk/>
            <pc:sldMk cId="2743116939" sldId="699"/>
            <ac:picMk id="8194" creationId="{D8DFAD9D-F2A4-D2DC-A41E-010BDAEC2A63}"/>
          </ac:picMkLst>
        </pc:picChg>
      </pc:sldChg>
      <pc:sldChg chg="modSp add mod modNotesTx">
        <pc:chgData name="Thomas Stensitzki" userId="75cafe6b-2f2a-469b-85c4-eec3b9c972ba" providerId="ADAL" clId="{EF5284BB-E924-47D6-B186-EC378FA380D2}" dt="2023-05-25T11:23:01.565" v="4637" actId="1440"/>
        <pc:sldMkLst>
          <pc:docMk/>
          <pc:sldMk cId="1230148335" sldId="700"/>
        </pc:sldMkLst>
        <pc:spChg chg="mod">
          <ac:chgData name="Thomas Stensitzki" userId="75cafe6b-2f2a-469b-85c4-eec3b9c972ba" providerId="ADAL" clId="{EF5284BB-E924-47D6-B186-EC378FA380D2}" dt="2023-05-16T14:31:40.468" v="2651"/>
          <ac:spMkLst>
            <pc:docMk/>
            <pc:sldMk cId="1230148335" sldId="700"/>
            <ac:spMk id="2" creationId="{3ADCC40F-C5BA-B284-3AF8-D6CC46FDD2EF}"/>
          </ac:spMkLst>
        </pc:spChg>
        <pc:picChg chg="mod">
          <ac:chgData name="Thomas Stensitzki" userId="75cafe6b-2f2a-469b-85c4-eec3b9c972ba" providerId="ADAL" clId="{EF5284BB-E924-47D6-B186-EC378FA380D2}" dt="2023-05-25T11:23:01.565" v="4637" actId="1440"/>
          <ac:picMkLst>
            <pc:docMk/>
            <pc:sldMk cId="1230148335" sldId="700"/>
            <ac:picMk id="8194" creationId="{D8DFAD9D-F2A4-D2DC-A41E-010BDAEC2A63}"/>
          </ac:picMkLst>
        </pc:picChg>
      </pc:sldChg>
      <pc:sldChg chg="modSp add mod modNotesTx">
        <pc:chgData name="Thomas Stensitzki" userId="75cafe6b-2f2a-469b-85c4-eec3b9c972ba" providerId="ADAL" clId="{EF5284BB-E924-47D6-B186-EC378FA380D2}" dt="2023-05-25T08:53:09.345" v="3984" actId="6549"/>
        <pc:sldMkLst>
          <pc:docMk/>
          <pc:sldMk cId="3896402637" sldId="701"/>
        </pc:sldMkLst>
        <pc:spChg chg="mod">
          <ac:chgData name="Thomas Stensitzki" userId="75cafe6b-2f2a-469b-85c4-eec3b9c972ba" providerId="ADAL" clId="{EF5284BB-E924-47D6-B186-EC378FA380D2}" dt="2023-05-16T14:32:47.859" v="2659"/>
          <ac:spMkLst>
            <pc:docMk/>
            <pc:sldMk cId="3896402637" sldId="701"/>
            <ac:spMk id="4" creationId="{D12969B4-351A-4517-A5B8-3E6AD9CDB206}"/>
          </ac:spMkLst>
        </pc:spChg>
        <pc:spChg chg="mod">
          <ac:chgData name="Thomas Stensitzki" userId="75cafe6b-2f2a-469b-85c4-eec3b9c972ba" providerId="ADAL" clId="{EF5284BB-E924-47D6-B186-EC378FA380D2}" dt="2023-05-16T14:45:50.635" v="2738" actId="20577"/>
          <ac:spMkLst>
            <pc:docMk/>
            <pc:sldMk cId="3896402637" sldId="701"/>
            <ac:spMk id="5" creationId="{C24DACB5-1BEC-4C86-9652-BAFD8DE56FEF}"/>
          </ac:spMkLst>
        </pc:spChg>
      </pc:sldChg>
      <pc:sldChg chg="addSp delSp modSp new mod modNotesTx">
        <pc:chgData name="Thomas Stensitzki" userId="75cafe6b-2f2a-469b-85c4-eec3b9c972ba" providerId="ADAL" clId="{EF5284BB-E924-47D6-B186-EC378FA380D2}" dt="2023-05-16T14:33:34.641" v="2667" actId="1076"/>
        <pc:sldMkLst>
          <pc:docMk/>
          <pc:sldMk cId="575615367" sldId="702"/>
        </pc:sldMkLst>
        <pc:spChg chg="mod">
          <ac:chgData name="Thomas Stensitzki" userId="75cafe6b-2f2a-469b-85c4-eec3b9c972ba" providerId="ADAL" clId="{EF5284BB-E924-47D6-B186-EC378FA380D2}" dt="2023-05-16T14:33:01.237" v="2662"/>
          <ac:spMkLst>
            <pc:docMk/>
            <pc:sldMk cId="575615367" sldId="702"/>
            <ac:spMk id="2" creationId="{0B60F266-922D-99F7-D541-BBA14D426F8B}"/>
          </ac:spMkLst>
        </pc:spChg>
        <pc:spChg chg="del">
          <ac:chgData name="Thomas Stensitzki" userId="75cafe6b-2f2a-469b-85c4-eec3b9c972ba" providerId="ADAL" clId="{EF5284BB-E924-47D6-B186-EC378FA380D2}" dt="2023-05-16T14:33:25.119" v="2664" actId="478"/>
          <ac:spMkLst>
            <pc:docMk/>
            <pc:sldMk cId="575615367" sldId="702"/>
            <ac:spMk id="3" creationId="{44E0BA56-BCAB-36DC-E686-EB6B76162AAE}"/>
          </ac:spMkLst>
        </pc:spChg>
        <pc:picChg chg="add mod">
          <ac:chgData name="Thomas Stensitzki" userId="75cafe6b-2f2a-469b-85c4-eec3b9c972ba" providerId="ADAL" clId="{EF5284BB-E924-47D6-B186-EC378FA380D2}" dt="2023-05-16T14:33:34.641" v="2667" actId="1076"/>
          <ac:picMkLst>
            <pc:docMk/>
            <pc:sldMk cId="575615367" sldId="702"/>
            <ac:picMk id="9218" creationId="{B962063C-80FB-2B0B-3700-99CBEE753EB0}"/>
          </ac:picMkLst>
        </pc:picChg>
      </pc:sldChg>
      <pc:sldChg chg="modSp add mod">
        <pc:chgData name="Thomas Stensitzki" userId="75cafe6b-2f2a-469b-85c4-eec3b9c972ba" providerId="ADAL" clId="{EF5284BB-E924-47D6-B186-EC378FA380D2}" dt="2023-05-16T14:46:17.842" v="2752" actId="20577"/>
        <pc:sldMkLst>
          <pc:docMk/>
          <pc:sldMk cId="4015570697" sldId="703"/>
        </pc:sldMkLst>
        <pc:spChg chg="mod">
          <ac:chgData name="Thomas Stensitzki" userId="75cafe6b-2f2a-469b-85c4-eec3b9c972ba" providerId="ADAL" clId="{EF5284BB-E924-47D6-B186-EC378FA380D2}" dt="2023-05-16T14:46:17.842" v="2752" actId="20577"/>
          <ac:spMkLst>
            <pc:docMk/>
            <pc:sldMk cId="4015570697" sldId="703"/>
            <ac:spMk id="5" creationId="{C24DACB5-1BEC-4C86-9652-BAFD8DE56FEF}"/>
          </ac:spMkLst>
        </pc:spChg>
      </pc:sldChg>
      <pc:sldChg chg="addSp delSp modSp new mod modNotesTx">
        <pc:chgData name="Thomas Stensitzki" userId="75cafe6b-2f2a-469b-85c4-eec3b9c972ba" providerId="ADAL" clId="{EF5284BB-E924-47D6-B186-EC378FA380D2}" dt="2023-05-25T11:23:03.720" v="4638" actId="1440"/>
        <pc:sldMkLst>
          <pc:docMk/>
          <pc:sldMk cId="1573460963" sldId="704"/>
        </pc:sldMkLst>
        <pc:spChg chg="mod">
          <ac:chgData name="Thomas Stensitzki" userId="75cafe6b-2f2a-469b-85c4-eec3b9c972ba" providerId="ADAL" clId="{EF5284BB-E924-47D6-B186-EC378FA380D2}" dt="2023-05-16T14:36:13.972" v="2673"/>
          <ac:spMkLst>
            <pc:docMk/>
            <pc:sldMk cId="1573460963" sldId="704"/>
            <ac:spMk id="2" creationId="{AD6E3B16-F04C-128A-EFFC-800D7EB25297}"/>
          </ac:spMkLst>
        </pc:spChg>
        <pc:spChg chg="del">
          <ac:chgData name="Thomas Stensitzki" userId="75cafe6b-2f2a-469b-85c4-eec3b9c972ba" providerId="ADAL" clId="{EF5284BB-E924-47D6-B186-EC378FA380D2}" dt="2023-05-16T14:36:11.447" v="2672" actId="478"/>
          <ac:spMkLst>
            <pc:docMk/>
            <pc:sldMk cId="1573460963" sldId="704"/>
            <ac:spMk id="3" creationId="{E974CDB4-86ED-6A6E-15FB-1E8BA4F27C76}"/>
          </ac:spMkLst>
        </pc:spChg>
        <pc:picChg chg="add mod">
          <ac:chgData name="Thomas Stensitzki" userId="75cafe6b-2f2a-469b-85c4-eec3b9c972ba" providerId="ADAL" clId="{EF5284BB-E924-47D6-B186-EC378FA380D2}" dt="2023-05-25T11:23:03.720" v="4638" actId="1440"/>
          <ac:picMkLst>
            <pc:docMk/>
            <pc:sldMk cId="1573460963" sldId="704"/>
            <ac:picMk id="10242" creationId="{A1868363-C841-3450-DD99-F972529BD3E6}"/>
          </ac:picMkLst>
        </pc:picChg>
      </pc:sldChg>
      <pc:sldChg chg="modSp add modNotesTx">
        <pc:chgData name="Thomas Stensitzki" userId="75cafe6b-2f2a-469b-85c4-eec3b9c972ba" providerId="ADAL" clId="{EF5284BB-E924-47D6-B186-EC378FA380D2}" dt="2023-05-25T11:24:13.149" v="4639" actId="1440"/>
        <pc:sldMkLst>
          <pc:docMk/>
          <pc:sldMk cId="2507653948" sldId="705"/>
        </pc:sldMkLst>
        <pc:picChg chg="mod">
          <ac:chgData name="Thomas Stensitzki" userId="75cafe6b-2f2a-469b-85c4-eec3b9c972ba" providerId="ADAL" clId="{EF5284BB-E924-47D6-B186-EC378FA380D2}" dt="2023-05-25T11:24:13.149" v="4639" actId="1440"/>
          <ac:picMkLst>
            <pc:docMk/>
            <pc:sldMk cId="2507653948" sldId="705"/>
            <ac:picMk id="10242" creationId="{A1868363-C841-3450-DD99-F972529BD3E6}"/>
          </ac:picMkLst>
        </pc:picChg>
      </pc:sldChg>
      <pc:sldChg chg="modSp new mod modNotesTx">
        <pc:chgData name="Thomas Stensitzki" userId="75cafe6b-2f2a-469b-85c4-eec3b9c972ba" providerId="ADAL" clId="{EF5284BB-E924-47D6-B186-EC378FA380D2}" dt="2023-05-25T11:32:15.188" v="5019" actId="790"/>
        <pc:sldMkLst>
          <pc:docMk/>
          <pc:sldMk cId="2812659098" sldId="706"/>
        </pc:sldMkLst>
        <pc:spChg chg="mod">
          <ac:chgData name="Thomas Stensitzki" userId="75cafe6b-2f2a-469b-85c4-eec3b9c972ba" providerId="ADAL" clId="{EF5284BB-E924-47D6-B186-EC378FA380D2}" dt="2023-05-25T08:53:17.460" v="3986" actId="20577"/>
          <ac:spMkLst>
            <pc:docMk/>
            <pc:sldMk cId="2812659098" sldId="706"/>
            <ac:spMk id="2" creationId="{C75EAFBD-6BA2-3743-4286-9F9C95CDEAD8}"/>
          </ac:spMkLst>
        </pc:spChg>
        <pc:spChg chg="mod">
          <ac:chgData name="Thomas Stensitzki" userId="75cafe6b-2f2a-469b-85c4-eec3b9c972ba" providerId="ADAL" clId="{EF5284BB-E924-47D6-B186-EC378FA380D2}" dt="2023-05-25T11:32:15.188" v="5019" actId="790"/>
          <ac:spMkLst>
            <pc:docMk/>
            <pc:sldMk cId="2812659098" sldId="706"/>
            <ac:spMk id="3" creationId="{DD63A7C4-FF42-483C-A957-EB2AD5563097}"/>
          </ac:spMkLst>
        </pc:spChg>
      </pc:sldChg>
      <pc:sldChg chg="addSp delSp modSp new mod">
        <pc:chgData name="Thomas Stensitzki" userId="75cafe6b-2f2a-469b-85c4-eec3b9c972ba" providerId="ADAL" clId="{EF5284BB-E924-47D6-B186-EC378FA380D2}" dt="2023-05-25T11:32:25.736" v="5020" actId="1440"/>
        <pc:sldMkLst>
          <pc:docMk/>
          <pc:sldMk cId="1687698883" sldId="707"/>
        </pc:sldMkLst>
        <pc:spChg chg="mod">
          <ac:chgData name="Thomas Stensitzki" userId="75cafe6b-2f2a-469b-85c4-eec3b9c972ba" providerId="ADAL" clId="{EF5284BB-E924-47D6-B186-EC378FA380D2}" dt="2023-05-16T14:40:55.019" v="2706"/>
          <ac:spMkLst>
            <pc:docMk/>
            <pc:sldMk cId="1687698883" sldId="707"/>
            <ac:spMk id="2" creationId="{6555D3F8-88B8-2602-E3EF-C287C90ED613}"/>
          </ac:spMkLst>
        </pc:spChg>
        <pc:spChg chg="del">
          <ac:chgData name="Thomas Stensitzki" userId="75cafe6b-2f2a-469b-85c4-eec3b9c972ba" providerId="ADAL" clId="{EF5284BB-E924-47D6-B186-EC378FA380D2}" dt="2023-05-16T14:41:13.350" v="2707" actId="478"/>
          <ac:spMkLst>
            <pc:docMk/>
            <pc:sldMk cId="1687698883" sldId="707"/>
            <ac:spMk id="3" creationId="{1C1D326C-8D85-2D26-1D2B-4728FD211C69}"/>
          </ac:spMkLst>
        </pc:spChg>
        <pc:picChg chg="add mod">
          <ac:chgData name="Thomas Stensitzki" userId="75cafe6b-2f2a-469b-85c4-eec3b9c972ba" providerId="ADAL" clId="{EF5284BB-E924-47D6-B186-EC378FA380D2}" dt="2023-05-25T11:32:25.736" v="5020" actId="1440"/>
          <ac:picMkLst>
            <pc:docMk/>
            <pc:sldMk cId="1687698883" sldId="707"/>
            <ac:picMk id="11266" creationId="{97E829A2-DBC1-9944-746A-6FBEE69B59F5}"/>
          </ac:picMkLst>
        </pc:picChg>
      </pc:sldChg>
      <pc:sldChg chg="addSp delSp modSp new mod modNotesTx">
        <pc:chgData name="Thomas Stensitzki" userId="75cafe6b-2f2a-469b-85c4-eec3b9c972ba" providerId="ADAL" clId="{EF5284BB-E924-47D6-B186-EC378FA380D2}" dt="2023-05-25T11:32:28.254" v="5021" actId="1440"/>
        <pc:sldMkLst>
          <pc:docMk/>
          <pc:sldMk cId="228026287" sldId="708"/>
        </pc:sldMkLst>
        <pc:spChg chg="mod">
          <ac:chgData name="Thomas Stensitzki" userId="75cafe6b-2f2a-469b-85c4-eec3b9c972ba" providerId="ADAL" clId="{EF5284BB-E924-47D6-B186-EC378FA380D2}" dt="2023-05-16T14:42:12.258" v="2713"/>
          <ac:spMkLst>
            <pc:docMk/>
            <pc:sldMk cId="228026287" sldId="708"/>
            <ac:spMk id="2" creationId="{788403FD-0877-7D1E-EDE8-8B812B526F3B}"/>
          </ac:spMkLst>
        </pc:spChg>
        <pc:spChg chg="del">
          <ac:chgData name="Thomas Stensitzki" userId="75cafe6b-2f2a-469b-85c4-eec3b9c972ba" providerId="ADAL" clId="{EF5284BB-E924-47D6-B186-EC378FA380D2}" dt="2023-05-16T14:42:53.827" v="2718" actId="478"/>
          <ac:spMkLst>
            <pc:docMk/>
            <pc:sldMk cId="228026287" sldId="708"/>
            <ac:spMk id="3" creationId="{7B0FCD7B-2582-5174-03AA-BB3529974F81}"/>
          </ac:spMkLst>
        </pc:spChg>
        <pc:picChg chg="add mod">
          <ac:chgData name="Thomas Stensitzki" userId="75cafe6b-2f2a-469b-85c4-eec3b9c972ba" providerId="ADAL" clId="{EF5284BB-E924-47D6-B186-EC378FA380D2}" dt="2023-05-25T11:32:28.254" v="5021" actId="1440"/>
          <ac:picMkLst>
            <pc:docMk/>
            <pc:sldMk cId="228026287" sldId="708"/>
            <ac:picMk id="12290" creationId="{FFC8777F-CE4D-E993-88D3-87973CE97509}"/>
          </ac:picMkLst>
        </pc:picChg>
      </pc:sldChg>
      <pc:sldChg chg="modSp add modNotesTx">
        <pc:chgData name="Thomas Stensitzki" userId="75cafe6b-2f2a-469b-85c4-eec3b9c972ba" providerId="ADAL" clId="{EF5284BB-E924-47D6-B186-EC378FA380D2}" dt="2023-05-25T11:32:31.136" v="5022" actId="1440"/>
        <pc:sldMkLst>
          <pc:docMk/>
          <pc:sldMk cId="110691181" sldId="709"/>
        </pc:sldMkLst>
        <pc:picChg chg="mod">
          <ac:chgData name="Thomas Stensitzki" userId="75cafe6b-2f2a-469b-85c4-eec3b9c972ba" providerId="ADAL" clId="{EF5284BB-E924-47D6-B186-EC378FA380D2}" dt="2023-05-25T11:32:31.136" v="5022" actId="1440"/>
          <ac:picMkLst>
            <pc:docMk/>
            <pc:sldMk cId="110691181" sldId="709"/>
            <ac:picMk id="12290" creationId="{FFC8777F-CE4D-E993-88D3-87973CE97509}"/>
          </ac:picMkLst>
        </pc:picChg>
      </pc:sldChg>
      <pc:sldChg chg="addSp modSp add mod modAnim">
        <pc:chgData name="Thomas Stensitzki" userId="75cafe6b-2f2a-469b-85c4-eec3b9c972ba" providerId="ADAL" clId="{EF5284BB-E924-47D6-B186-EC378FA380D2}" dt="2023-05-25T11:32:32.744" v="5023" actId="1440"/>
        <pc:sldMkLst>
          <pc:docMk/>
          <pc:sldMk cId="548134817" sldId="710"/>
        </pc:sldMkLst>
        <pc:spChg chg="add mod">
          <ac:chgData name="Thomas Stensitzki" userId="75cafe6b-2f2a-469b-85c4-eec3b9c972ba" providerId="ADAL" clId="{EF5284BB-E924-47D6-B186-EC378FA380D2}" dt="2023-05-25T08:55:49.823" v="3994" actId="1035"/>
          <ac:spMkLst>
            <pc:docMk/>
            <pc:sldMk cId="548134817" sldId="710"/>
            <ac:spMk id="5" creationId="{8521FE37-7C16-9553-EB5C-697BBEEE83FC}"/>
          </ac:spMkLst>
        </pc:spChg>
        <pc:picChg chg="add mod">
          <ac:chgData name="Thomas Stensitzki" userId="75cafe6b-2f2a-469b-85c4-eec3b9c972ba" providerId="ADAL" clId="{EF5284BB-E924-47D6-B186-EC378FA380D2}" dt="2023-05-25T08:55:20.363" v="3990" actId="1440"/>
          <ac:picMkLst>
            <pc:docMk/>
            <pc:sldMk cId="548134817" sldId="710"/>
            <ac:picMk id="4" creationId="{A1FE1530-011C-A2B2-D39F-4B3D9703E49A}"/>
          </ac:picMkLst>
        </pc:picChg>
        <pc:picChg chg="mod">
          <ac:chgData name="Thomas Stensitzki" userId="75cafe6b-2f2a-469b-85c4-eec3b9c972ba" providerId="ADAL" clId="{EF5284BB-E924-47D6-B186-EC378FA380D2}" dt="2023-05-25T11:32:32.744" v="5023" actId="1440"/>
          <ac:picMkLst>
            <pc:docMk/>
            <pc:sldMk cId="548134817" sldId="710"/>
            <ac:picMk id="12290" creationId="{FFC8777F-CE4D-E993-88D3-87973CE97509}"/>
          </ac:picMkLst>
        </pc:picChg>
      </pc:sldChg>
      <pc:sldChg chg="modSp add modNotesTx">
        <pc:chgData name="Thomas Stensitzki" userId="75cafe6b-2f2a-469b-85c4-eec3b9c972ba" providerId="ADAL" clId="{EF5284BB-E924-47D6-B186-EC378FA380D2}" dt="2023-05-25T11:32:35.293" v="5024" actId="1440"/>
        <pc:sldMkLst>
          <pc:docMk/>
          <pc:sldMk cId="3364405255" sldId="711"/>
        </pc:sldMkLst>
        <pc:picChg chg="mod">
          <ac:chgData name="Thomas Stensitzki" userId="75cafe6b-2f2a-469b-85c4-eec3b9c972ba" providerId="ADAL" clId="{EF5284BB-E924-47D6-B186-EC378FA380D2}" dt="2023-05-25T11:32:35.293" v="5024" actId="1440"/>
          <ac:picMkLst>
            <pc:docMk/>
            <pc:sldMk cId="3364405255" sldId="711"/>
            <ac:picMk id="12290" creationId="{FFC8777F-CE4D-E993-88D3-87973CE97509}"/>
          </ac:picMkLst>
        </pc:picChg>
      </pc:sldChg>
      <pc:sldChg chg="addSp delSp modSp new mod modClrScheme chgLayout">
        <pc:chgData name="Thomas Stensitzki" userId="75cafe6b-2f2a-469b-85c4-eec3b9c972ba" providerId="ADAL" clId="{EF5284BB-E924-47D6-B186-EC378FA380D2}" dt="2023-05-16T14:48:23.642" v="2841" actId="20577"/>
        <pc:sldMkLst>
          <pc:docMk/>
          <pc:sldMk cId="3869137616" sldId="712"/>
        </pc:sldMkLst>
        <pc:spChg chg="mod ord">
          <ac:chgData name="Thomas Stensitzki" userId="75cafe6b-2f2a-469b-85c4-eec3b9c972ba" providerId="ADAL" clId="{EF5284BB-E924-47D6-B186-EC378FA380D2}" dt="2023-05-16T14:46:35.555" v="2755" actId="700"/>
          <ac:spMkLst>
            <pc:docMk/>
            <pc:sldMk cId="3869137616" sldId="712"/>
            <ac:spMk id="2" creationId="{533FCBC7-C181-5F09-A7F2-ACA52E7F6BF1}"/>
          </ac:spMkLst>
        </pc:spChg>
        <pc:spChg chg="del mod ord">
          <ac:chgData name="Thomas Stensitzki" userId="75cafe6b-2f2a-469b-85c4-eec3b9c972ba" providerId="ADAL" clId="{EF5284BB-E924-47D6-B186-EC378FA380D2}" dt="2023-05-16T14:46:35.555" v="2755" actId="700"/>
          <ac:spMkLst>
            <pc:docMk/>
            <pc:sldMk cId="3869137616" sldId="712"/>
            <ac:spMk id="3" creationId="{C97B5998-3233-D192-497E-047E66BC1829}"/>
          </ac:spMkLst>
        </pc:spChg>
        <pc:spChg chg="add mod ord">
          <ac:chgData name="Thomas Stensitzki" userId="75cafe6b-2f2a-469b-85c4-eec3b9c972ba" providerId="ADAL" clId="{EF5284BB-E924-47D6-B186-EC378FA380D2}" dt="2023-05-16T14:47:26.630" v="2785" actId="20577"/>
          <ac:spMkLst>
            <pc:docMk/>
            <pc:sldMk cId="3869137616" sldId="712"/>
            <ac:spMk id="4" creationId="{DF3754FD-847B-D8A2-400E-86D68B8F9BDF}"/>
          </ac:spMkLst>
        </pc:spChg>
        <pc:spChg chg="add mod ord">
          <ac:chgData name="Thomas Stensitzki" userId="75cafe6b-2f2a-469b-85c4-eec3b9c972ba" providerId="ADAL" clId="{EF5284BB-E924-47D6-B186-EC378FA380D2}" dt="2023-05-16T14:47:20.616" v="2772" actId="404"/>
          <ac:spMkLst>
            <pc:docMk/>
            <pc:sldMk cId="3869137616" sldId="712"/>
            <ac:spMk id="5" creationId="{7C6EB10C-D83A-3222-54F4-1ED16FF66C95}"/>
          </ac:spMkLst>
        </pc:spChg>
        <pc:spChg chg="add mod ord">
          <ac:chgData name="Thomas Stensitzki" userId="75cafe6b-2f2a-469b-85c4-eec3b9c972ba" providerId="ADAL" clId="{EF5284BB-E924-47D6-B186-EC378FA380D2}" dt="2023-05-16T14:47:39.423" v="2821" actId="20577"/>
          <ac:spMkLst>
            <pc:docMk/>
            <pc:sldMk cId="3869137616" sldId="712"/>
            <ac:spMk id="6" creationId="{0BAFA6B4-8DAD-4531-CCD5-21069E23D345}"/>
          </ac:spMkLst>
        </pc:spChg>
        <pc:spChg chg="add mod ord">
          <ac:chgData name="Thomas Stensitzki" userId="75cafe6b-2f2a-469b-85c4-eec3b9c972ba" providerId="ADAL" clId="{EF5284BB-E924-47D6-B186-EC378FA380D2}" dt="2023-05-16T14:48:23.642" v="2841" actId="20577"/>
          <ac:spMkLst>
            <pc:docMk/>
            <pc:sldMk cId="3869137616" sldId="712"/>
            <ac:spMk id="7" creationId="{73713666-D3BA-EDBF-78B2-7FB3C3BF0E0C}"/>
          </ac:spMkLst>
        </pc:spChg>
      </pc:sldChg>
      <pc:sldChg chg="addSp delSp modSp new mod ord">
        <pc:chgData name="Thomas Stensitzki" userId="75cafe6b-2f2a-469b-85c4-eec3b9c972ba" providerId="ADAL" clId="{EF5284BB-E924-47D6-B186-EC378FA380D2}" dt="2023-05-16T15:22:05.935" v="2893" actId="1076"/>
        <pc:sldMkLst>
          <pc:docMk/>
          <pc:sldMk cId="1812240311" sldId="713"/>
        </pc:sldMkLst>
        <pc:spChg chg="mod">
          <ac:chgData name="Thomas Stensitzki" userId="75cafe6b-2f2a-469b-85c4-eec3b9c972ba" providerId="ADAL" clId="{EF5284BB-E924-47D6-B186-EC378FA380D2}" dt="2023-05-16T15:18:28.077" v="2867" actId="20577"/>
          <ac:spMkLst>
            <pc:docMk/>
            <pc:sldMk cId="1812240311" sldId="713"/>
            <ac:spMk id="2" creationId="{A3CA62FB-DB46-0E45-3C5F-8E0C30500E5E}"/>
          </ac:spMkLst>
        </pc:spChg>
        <pc:spChg chg="mod">
          <ac:chgData name="Thomas Stensitzki" userId="75cafe6b-2f2a-469b-85c4-eec3b9c972ba" providerId="ADAL" clId="{EF5284BB-E924-47D6-B186-EC378FA380D2}" dt="2023-05-16T15:18:56.571" v="2877" actId="20577"/>
          <ac:spMkLst>
            <pc:docMk/>
            <pc:sldMk cId="1812240311" sldId="713"/>
            <ac:spMk id="3" creationId="{378D6642-B57A-4DCD-57DC-824BF84E317B}"/>
          </ac:spMkLst>
        </pc:spChg>
        <pc:spChg chg="add del">
          <ac:chgData name="Thomas Stensitzki" userId="75cafe6b-2f2a-469b-85c4-eec3b9c972ba" providerId="ADAL" clId="{EF5284BB-E924-47D6-B186-EC378FA380D2}" dt="2023-05-16T15:20:30.015" v="2879"/>
          <ac:spMkLst>
            <pc:docMk/>
            <pc:sldMk cId="1812240311" sldId="713"/>
            <ac:spMk id="4" creationId="{90C119DD-546D-4C8F-BAB5-3B9B4BD50D96}"/>
          </ac:spMkLst>
        </pc:spChg>
        <pc:spChg chg="add del">
          <ac:chgData name="Thomas Stensitzki" userId="75cafe6b-2f2a-469b-85c4-eec3b9c972ba" providerId="ADAL" clId="{EF5284BB-E924-47D6-B186-EC378FA380D2}" dt="2023-05-16T15:21:26.044" v="2886"/>
          <ac:spMkLst>
            <pc:docMk/>
            <pc:sldMk cId="1812240311" sldId="713"/>
            <ac:spMk id="7" creationId="{3A9EB8CF-27DC-F07E-DD59-C9AC6E83D4D1}"/>
          </ac:spMkLst>
        </pc:spChg>
        <pc:picChg chg="add mod">
          <ac:chgData name="Thomas Stensitzki" userId="75cafe6b-2f2a-469b-85c4-eec3b9c972ba" providerId="ADAL" clId="{EF5284BB-E924-47D6-B186-EC378FA380D2}" dt="2023-05-16T15:22:05.935" v="2893" actId="1076"/>
          <ac:picMkLst>
            <pc:docMk/>
            <pc:sldMk cId="1812240311" sldId="713"/>
            <ac:picMk id="6" creationId="{477FC3E1-727F-5E20-0E76-2299F0D84443}"/>
          </ac:picMkLst>
        </pc:picChg>
        <pc:picChg chg="add mod">
          <ac:chgData name="Thomas Stensitzki" userId="75cafe6b-2f2a-469b-85c4-eec3b9c972ba" providerId="ADAL" clId="{EF5284BB-E924-47D6-B186-EC378FA380D2}" dt="2023-05-16T15:21:58.262" v="2892" actId="1440"/>
          <ac:picMkLst>
            <pc:docMk/>
            <pc:sldMk cId="1812240311" sldId="713"/>
            <ac:picMk id="9" creationId="{E0DAF901-7B5D-BD85-D20B-716E13CCAA02}"/>
          </ac:picMkLst>
        </pc:picChg>
      </pc:sldChg>
      <pc:sldChg chg="modNotesTx">
        <pc:chgData name="Thomas Stensitzki" userId="75cafe6b-2f2a-469b-85c4-eec3b9c972ba" providerId="ADAL" clId="{EF5284BB-E924-47D6-B186-EC378FA380D2}" dt="2023-05-25T08:53:04.970" v="3983" actId="6549"/>
        <pc:sldMkLst>
          <pc:docMk/>
          <pc:sldMk cId="286203048" sldId="722"/>
        </pc:sldMkLst>
      </pc:sldChg>
      <pc:sldChg chg="modSp mod modNotesTx">
        <pc:chgData name="Thomas Stensitzki" userId="75cafe6b-2f2a-469b-85c4-eec3b9c972ba" providerId="ADAL" clId="{EF5284BB-E924-47D6-B186-EC378FA380D2}" dt="2023-05-25T11:32:05.981" v="5017" actId="20577"/>
        <pc:sldMkLst>
          <pc:docMk/>
          <pc:sldMk cId="3113072159" sldId="723"/>
        </pc:sldMkLst>
        <pc:spChg chg="mod">
          <ac:chgData name="Thomas Stensitzki" userId="75cafe6b-2f2a-469b-85c4-eec3b9c972ba" providerId="ADAL" clId="{EF5284BB-E924-47D6-B186-EC378FA380D2}" dt="2023-05-25T11:32:05.981" v="5017" actId="20577"/>
          <ac:spMkLst>
            <pc:docMk/>
            <pc:sldMk cId="3113072159" sldId="723"/>
            <ac:spMk id="5" creationId="{C24DACB5-1BEC-4C86-9652-BAFD8DE56FEF}"/>
          </ac:spMkLst>
        </pc:spChg>
      </pc:sldChg>
      <pc:sldChg chg="modNotesTx">
        <pc:chgData name="Thomas Stensitzki" userId="75cafe6b-2f2a-469b-85c4-eec3b9c972ba" providerId="ADAL" clId="{EF5284BB-E924-47D6-B186-EC378FA380D2}" dt="2023-05-25T08:53:22.497" v="3987" actId="6549"/>
        <pc:sldMkLst>
          <pc:docMk/>
          <pc:sldMk cId="3469518411" sldId="724"/>
        </pc:sldMkLst>
      </pc:sldChg>
      <pc:sldChg chg="addSp delSp modSp new mod">
        <pc:chgData name="Thomas Stensitzki" userId="75cafe6b-2f2a-469b-85c4-eec3b9c972ba" providerId="ADAL" clId="{EF5284BB-E924-47D6-B186-EC378FA380D2}" dt="2023-05-25T09:05:00.807" v="4038" actId="20577"/>
        <pc:sldMkLst>
          <pc:docMk/>
          <pc:sldMk cId="2980570034" sldId="728"/>
        </pc:sldMkLst>
        <pc:spChg chg="mod">
          <ac:chgData name="Thomas Stensitzki" userId="75cafe6b-2f2a-469b-85c4-eec3b9c972ba" providerId="ADAL" clId="{EF5284BB-E924-47D6-B186-EC378FA380D2}" dt="2023-05-25T09:05:00.807" v="4038" actId="20577"/>
          <ac:spMkLst>
            <pc:docMk/>
            <pc:sldMk cId="2980570034" sldId="728"/>
            <ac:spMk id="2" creationId="{EBCC6F90-D660-44CF-8C48-0FC5E552542C}"/>
          </ac:spMkLst>
        </pc:spChg>
        <pc:spChg chg="del">
          <ac:chgData name="Thomas Stensitzki" userId="75cafe6b-2f2a-469b-85c4-eec3b9c972ba" providerId="ADAL" clId="{EF5284BB-E924-47D6-B186-EC378FA380D2}" dt="2023-05-25T06:49:09.005" v="3131" actId="478"/>
          <ac:spMkLst>
            <pc:docMk/>
            <pc:sldMk cId="2980570034" sldId="728"/>
            <ac:spMk id="3" creationId="{016F21C8-A6E3-875C-8698-762D193E9833}"/>
          </ac:spMkLst>
        </pc:spChg>
        <pc:spChg chg="add mod">
          <ac:chgData name="Thomas Stensitzki" userId="75cafe6b-2f2a-469b-85c4-eec3b9c972ba" providerId="ADAL" clId="{EF5284BB-E924-47D6-B186-EC378FA380D2}" dt="2023-05-25T06:49:41.260" v="3137" actId="13822"/>
          <ac:spMkLst>
            <pc:docMk/>
            <pc:sldMk cId="2980570034" sldId="728"/>
            <ac:spMk id="6" creationId="{3096331B-675E-ABF9-F155-9FF5C3E2A1FF}"/>
          </ac:spMkLst>
        </pc:spChg>
        <pc:picChg chg="add mod">
          <ac:chgData name="Thomas Stensitzki" userId="75cafe6b-2f2a-469b-85c4-eec3b9c972ba" providerId="ADAL" clId="{EF5284BB-E924-47D6-B186-EC378FA380D2}" dt="2023-05-25T06:49:15.900" v="3133" actId="1076"/>
          <ac:picMkLst>
            <pc:docMk/>
            <pc:sldMk cId="2980570034" sldId="728"/>
            <ac:picMk id="5" creationId="{AD92326E-0926-2640-9D9E-16E1A55E92B4}"/>
          </ac:picMkLst>
        </pc:picChg>
      </pc:sldChg>
      <pc:sldChg chg="addSp delSp modSp add mod modAnim">
        <pc:chgData name="Thomas Stensitzki" userId="75cafe6b-2f2a-469b-85c4-eec3b9c972ba" providerId="ADAL" clId="{EF5284BB-E924-47D6-B186-EC378FA380D2}" dt="2023-05-25T06:54:10.351" v="3181"/>
        <pc:sldMkLst>
          <pc:docMk/>
          <pc:sldMk cId="3577359359" sldId="729"/>
        </pc:sldMkLst>
        <pc:spChg chg="add mod">
          <ac:chgData name="Thomas Stensitzki" userId="75cafe6b-2f2a-469b-85c4-eec3b9c972ba" providerId="ADAL" clId="{EF5284BB-E924-47D6-B186-EC378FA380D2}" dt="2023-05-25T06:53:31.111" v="3171" actId="1036"/>
          <ac:spMkLst>
            <pc:docMk/>
            <pc:sldMk cId="3577359359" sldId="729"/>
            <ac:spMk id="9" creationId="{045AF8AB-1B01-2C2D-63C0-F7173631EFA4}"/>
          </ac:spMkLst>
        </pc:spChg>
        <pc:spChg chg="add mod">
          <ac:chgData name="Thomas Stensitzki" userId="75cafe6b-2f2a-469b-85c4-eec3b9c972ba" providerId="ADAL" clId="{EF5284BB-E924-47D6-B186-EC378FA380D2}" dt="2023-05-25T06:53:36.972" v="3173" actId="1076"/>
          <ac:spMkLst>
            <pc:docMk/>
            <pc:sldMk cId="3577359359" sldId="729"/>
            <ac:spMk id="10" creationId="{9BEF5ED1-CC4C-D87B-F6E5-601D116A93BD}"/>
          </ac:spMkLst>
        </pc:spChg>
        <pc:spChg chg="add mod">
          <ac:chgData name="Thomas Stensitzki" userId="75cafe6b-2f2a-469b-85c4-eec3b9c972ba" providerId="ADAL" clId="{EF5284BB-E924-47D6-B186-EC378FA380D2}" dt="2023-05-25T06:53:44.108" v="3175" actId="1076"/>
          <ac:spMkLst>
            <pc:docMk/>
            <pc:sldMk cId="3577359359" sldId="729"/>
            <ac:spMk id="11" creationId="{DCFDD116-19CF-5F61-3A5E-6DD568286ABD}"/>
          </ac:spMkLst>
        </pc:spChg>
        <pc:picChg chg="del">
          <ac:chgData name="Thomas Stensitzki" userId="75cafe6b-2f2a-469b-85c4-eec3b9c972ba" providerId="ADAL" clId="{EF5284BB-E924-47D6-B186-EC378FA380D2}" dt="2023-05-25T06:52:14.524" v="3153" actId="478"/>
          <ac:picMkLst>
            <pc:docMk/>
            <pc:sldMk cId="3577359359" sldId="729"/>
            <ac:picMk id="3" creationId="{81874EEF-EFDE-0FC8-6A52-AA7BDF521F73}"/>
          </ac:picMkLst>
        </pc:picChg>
        <pc:picChg chg="add del">
          <ac:chgData name="Thomas Stensitzki" userId="75cafe6b-2f2a-469b-85c4-eec3b9c972ba" providerId="ADAL" clId="{EF5284BB-E924-47D6-B186-EC378FA380D2}" dt="2023-05-25T06:52:34.844" v="3155" actId="22"/>
          <ac:picMkLst>
            <pc:docMk/>
            <pc:sldMk cId="3577359359" sldId="729"/>
            <ac:picMk id="5" creationId="{B970152A-E001-3BF7-AECA-120E2071281E}"/>
          </ac:picMkLst>
        </pc:picChg>
        <pc:picChg chg="add mod">
          <ac:chgData name="Thomas Stensitzki" userId="75cafe6b-2f2a-469b-85c4-eec3b9c972ba" providerId="ADAL" clId="{EF5284BB-E924-47D6-B186-EC378FA380D2}" dt="2023-05-25T06:52:57.427" v="3159" actId="1440"/>
          <ac:picMkLst>
            <pc:docMk/>
            <pc:sldMk cId="3577359359" sldId="729"/>
            <ac:picMk id="8" creationId="{842933A2-0B4C-8856-EEB3-8FDA0D363F8F}"/>
          </ac:picMkLst>
        </pc:picChg>
      </pc:sldChg>
      <pc:sldChg chg="modSp add mod">
        <pc:chgData name="Thomas Stensitzki" userId="75cafe6b-2f2a-469b-85c4-eec3b9c972ba" providerId="ADAL" clId="{EF5284BB-E924-47D6-B186-EC378FA380D2}" dt="2023-05-25T06:51:42.608" v="3151" actId="14826"/>
        <pc:sldMkLst>
          <pc:docMk/>
          <pc:sldMk cId="1502079206" sldId="730"/>
        </pc:sldMkLst>
        <pc:picChg chg="mod">
          <ac:chgData name="Thomas Stensitzki" userId="75cafe6b-2f2a-469b-85c4-eec3b9c972ba" providerId="ADAL" clId="{EF5284BB-E924-47D6-B186-EC378FA380D2}" dt="2023-05-25T06:51:42.608" v="3151" actId="14826"/>
          <ac:picMkLst>
            <pc:docMk/>
            <pc:sldMk cId="1502079206" sldId="730"/>
            <ac:picMk id="5" creationId="{59007772-8755-0B09-0B61-A2C5D858E370}"/>
          </ac:picMkLst>
        </pc:picChg>
      </pc:sldChg>
      <pc:sldChg chg="modSp add mod ord modNotesTx">
        <pc:chgData name="Thomas Stensitzki" userId="75cafe6b-2f2a-469b-85c4-eec3b9c972ba" providerId="ADAL" clId="{EF5284BB-E924-47D6-B186-EC378FA380D2}" dt="2023-05-25T08:52:24.186" v="3981" actId="6549"/>
        <pc:sldMkLst>
          <pc:docMk/>
          <pc:sldMk cId="1769890538" sldId="731"/>
        </pc:sldMkLst>
        <pc:spChg chg="mod">
          <ac:chgData name="Thomas Stensitzki" userId="75cafe6b-2f2a-469b-85c4-eec3b9c972ba" providerId="ADAL" clId="{EF5284BB-E924-47D6-B186-EC378FA380D2}" dt="2023-05-25T08:49:33.970" v="3942" actId="14100"/>
          <ac:spMkLst>
            <pc:docMk/>
            <pc:sldMk cId="1769890538" sldId="731"/>
            <ac:spMk id="2" creationId="{909DC09D-B9A6-4493-9A72-1CA7ECB1F5CA}"/>
          </ac:spMkLst>
        </pc:spChg>
      </pc:sldChg>
      <pc:sldChg chg="new del">
        <pc:chgData name="Thomas Stensitzki" userId="75cafe6b-2f2a-469b-85c4-eec3b9c972ba" providerId="ADAL" clId="{EF5284BB-E924-47D6-B186-EC378FA380D2}" dt="2023-05-25T06:53:08.185" v="3160" actId="47"/>
        <pc:sldMkLst>
          <pc:docMk/>
          <pc:sldMk cId="3255802641" sldId="731"/>
        </pc:sldMkLst>
      </pc:sldChg>
      <pc:sldChg chg="modSp add mod ord modNotesTx">
        <pc:chgData name="Thomas Stensitzki" userId="75cafe6b-2f2a-469b-85c4-eec3b9c972ba" providerId="ADAL" clId="{EF5284BB-E924-47D6-B186-EC378FA380D2}" dt="2023-05-25T08:52:21.001" v="3980" actId="6549"/>
        <pc:sldMkLst>
          <pc:docMk/>
          <pc:sldMk cId="2791390437" sldId="732"/>
        </pc:sldMkLst>
        <pc:spChg chg="mod">
          <ac:chgData name="Thomas Stensitzki" userId="75cafe6b-2f2a-469b-85c4-eec3b9c972ba" providerId="ADAL" clId="{EF5284BB-E924-47D6-B186-EC378FA380D2}" dt="2023-05-25T08:49:49.834" v="3949" actId="1035"/>
          <ac:spMkLst>
            <pc:docMk/>
            <pc:sldMk cId="2791390437" sldId="732"/>
            <ac:spMk id="2" creationId="{909DC09D-B9A6-4493-9A72-1CA7ECB1F5CA}"/>
          </ac:spMkLst>
        </pc:spChg>
        <pc:spChg chg="mod">
          <ac:chgData name="Thomas Stensitzki" userId="75cafe6b-2f2a-469b-85c4-eec3b9c972ba" providerId="ADAL" clId="{EF5284BB-E924-47D6-B186-EC378FA380D2}" dt="2023-05-25T08:52:19.193" v="3979" actId="1076"/>
          <ac:spMkLst>
            <pc:docMk/>
            <pc:sldMk cId="2791390437" sldId="732"/>
            <ac:spMk id="5" creationId="{C24DACB5-1BEC-4C86-9652-BAFD8DE56FEF}"/>
          </ac:spMkLst>
        </pc:spChg>
      </pc:sldChg>
      <pc:sldChg chg="modSp add mod ord modNotesTx">
        <pc:chgData name="Thomas Stensitzki" userId="75cafe6b-2f2a-469b-85c4-eec3b9c972ba" providerId="ADAL" clId="{EF5284BB-E924-47D6-B186-EC378FA380D2}" dt="2023-05-25T08:52:10.970" v="3977" actId="6549"/>
        <pc:sldMkLst>
          <pc:docMk/>
          <pc:sldMk cId="1361695656" sldId="733"/>
        </pc:sldMkLst>
        <pc:spChg chg="mod">
          <ac:chgData name="Thomas Stensitzki" userId="75cafe6b-2f2a-469b-85c4-eec3b9c972ba" providerId="ADAL" clId="{EF5284BB-E924-47D6-B186-EC378FA380D2}" dt="2023-05-25T08:51:55.609" v="3974" actId="1076"/>
          <ac:spMkLst>
            <pc:docMk/>
            <pc:sldMk cId="1361695656" sldId="733"/>
            <ac:spMk id="2" creationId="{909DC09D-B9A6-4493-9A72-1CA7ECB1F5CA}"/>
          </ac:spMkLst>
        </pc:spChg>
      </pc:sldChg>
      <pc:sldChg chg="modSp add mod ord modNotesTx">
        <pc:chgData name="Thomas Stensitzki" userId="75cafe6b-2f2a-469b-85c4-eec3b9c972ba" providerId="ADAL" clId="{EF5284BB-E924-47D6-B186-EC378FA380D2}" dt="2023-05-25T08:52:15.995" v="3978" actId="6549"/>
        <pc:sldMkLst>
          <pc:docMk/>
          <pc:sldMk cId="2251038635" sldId="734"/>
        </pc:sldMkLst>
        <pc:spChg chg="mod">
          <ac:chgData name="Thomas Stensitzki" userId="75cafe6b-2f2a-469b-85c4-eec3b9c972ba" providerId="ADAL" clId="{EF5284BB-E924-47D6-B186-EC378FA380D2}" dt="2023-05-25T08:51:37.875" v="3969" actId="14100"/>
          <ac:spMkLst>
            <pc:docMk/>
            <pc:sldMk cId="2251038635" sldId="734"/>
            <ac:spMk id="2" creationId="{909DC09D-B9A6-4493-9A72-1CA7ECB1F5CA}"/>
          </ac:spMkLst>
        </pc:spChg>
      </pc:sldChg>
      <pc:sldChg chg="add modNotesTx">
        <pc:chgData name="Thomas Stensitzki" userId="75cafe6b-2f2a-469b-85c4-eec3b9c972ba" providerId="ADAL" clId="{EF5284BB-E924-47D6-B186-EC378FA380D2}" dt="2023-05-25T08:52:05.452" v="3976" actId="6549"/>
        <pc:sldMkLst>
          <pc:docMk/>
          <pc:sldMk cId="1632201943" sldId="735"/>
        </pc:sldMkLst>
      </pc:sldChg>
      <pc:sldChg chg="addSp delSp modSp new mod modClrScheme chgLayout">
        <pc:chgData name="Thomas Stensitzki" userId="75cafe6b-2f2a-469b-85c4-eec3b9c972ba" providerId="ADAL" clId="{EF5284BB-E924-47D6-B186-EC378FA380D2}" dt="2023-05-25T10:56:19.032" v="4307" actId="20577"/>
        <pc:sldMkLst>
          <pc:docMk/>
          <pc:sldMk cId="974887325" sldId="736"/>
        </pc:sldMkLst>
        <pc:spChg chg="del mod ord">
          <ac:chgData name="Thomas Stensitzki" userId="75cafe6b-2f2a-469b-85c4-eec3b9c972ba" providerId="ADAL" clId="{EF5284BB-E924-47D6-B186-EC378FA380D2}" dt="2023-05-25T09:13:23.898" v="4083" actId="700"/>
          <ac:spMkLst>
            <pc:docMk/>
            <pc:sldMk cId="974887325" sldId="736"/>
            <ac:spMk id="2" creationId="{22D2F5C2-4141-88F0-E00A-850CAEEC3BF9}"/>
          </ac:spMkLst>
        </pc:spChg>
        <pc:spChg chg="del">
          <ac:chgData name="Thomas Stensitzki" userId="75cafe6b-2f2a-469b-85c4-eec3b9c972ba" providerId="ADAL" clId="{EF5284BB-E924-47D6-B186-EC378FA380D2}" dt="2023-05-25T09:13:23.898" v="4083" actId="700"/>
          <ac:spMkLst>
            <pc:docMk/>
            <pc:sldMk cId="974887325" sldId="736"/>
            <ac:spMk id="3" creationId="{D5E705F6-1567-2F86-0590-8909C4093FC0}"/>
          </ac:spMkLst>
        </pc:spChg>
        <pc:spChg chg="add mod ord">
          <ac:chgData name="Thomas Stensitzki" userId="75cafe6b-2f2a-469b-85c4-eec3b9c972ba" providerId="ADAL" clId="{EF5284BB-E924-47D6-B186-EC378FA380D2}" dt="2023-05-25T10:56:19.032" v="4307" actId="20577"/>
          <ac:spMkLst>
            <pc:docMk/>
            <pc:sldMk cId="974887325" sldId="736"/>
            <ac:spMk id="4" creationId="{F4D7CAFB-9D55-07E7-22A0-3B4C1A31EE0D}"/>
          </ac:spMkLst>
        </pc:spChg>
        <pc:spChg chg="add del">
          <ac:chgData name="Thomas Stensitzki" userId="75cafe6b-2f2a-469b-85c4-eec3b9c972ba" providerId="ADAL" clId="{EF5284BB-E924-47D6-B186-EC378FA380D2}" dt="2023-05-25T09:13:34.558" v="4102" actId="22"/>
          <ac:spMkLst>
            <pc:docMk/>
            <pc:sldMk cId="974887325" sldId="736"/>
            <ac:spMk id="6" creationId="{CD59AAF2-395D-3C1F-BF47-505F235EDACA}"/>
          </ac:spMkLst>
        </pc:spChg>
        <pc:spChg chg="add mod">
          <ac:chgData name="Thomas Stensitzki" userId="75cafe6b-2f2a-469b-85c4-eec3b9c972ba" providerId="ADAL" clId="{EF5284BB-E924-47D6-B186-EC378FA380D2}" dt="2023-05-25T10:56:03.160" v="4282" actId="14100"/>
          <ac:spMkLst>
            <pc:docMk/>
            <pc:sldMk cId="974887325" sldId="736"/>
            <ac:spMk id="10" creationId="{6D202211-02D3-EA1B-3A5B-03B37CEE7167}"/>
          </ac:spMkLst>
        </pc:spChg>
        <pc:spChg chg="add mod">
          <ac:chgData name="Thomas Stensitzki" userId="75cafe6b-2f2a-469b-85c4-eec3b9c972ba" providerId="ADAL" clId="{EF5284BB-E924-47D6-B186-EC378FA380D2}" dt="2023-05-25T10:56:14.512" v="4291" actId="14100"/>
          <ac:spMkLst>
            <pc:docMk/>
            <pc:sldMk cId="974887325" sldId="736"/>
            <ac:spMk id="11" creationId="{4EEC3F54-98C7-61CC-A880-22E32440EC08}"/>
          </ac:spMkLst>
        </pc:spChg>
        <pc:picChg chg="add mod">
          <ac:chgData name="Thomas Stensitzki" userId="75cafe6b-2f2a-469b-85c4-eec3b9c972ba" providerId="ADAL" clId="{EF5284BB-E924-47D6-B186-EC378FA380D2}" dt="2023-05-25T10:55:28.080" v="4274" actId="1076"/>
          <ac:picMkLst>
            <pc:docMk/>
            <pc:sldMk cId="974887325" sldId="736"/>
            <ac:picMk id="8" creationId="{1C26A925-17EC-0C90-D134-C8E7DC796406}"/>
          </ac:picMkLst>
        </pc:picChg>
        <pc:picChg chg="add mod">
          <ac:chgData name="Thomas Stensitzki" userId="75cafe6b-2f2a-469b-85c4-eec3b9c972ba" providerId="ADAL" clId="{EF5284BB-E924-47D6-B186-EC378FA380D2}" dt="2023-05-25T10:55:33.160" v="4275" actId="1076"/>
          <ac:picMkLst>
            <pc:docMk/>
            <pc:sldMk cId="974887325" sldId="736"/>
            <ac:picMk id="9" creationId="{0966EED6-3B95-2545-0756-423F67702984}"/>
          </ac:picMkLst>
        </pc:picChg>
      </pc:sldChg>
      <pc:sldChg chg="addSp delSp modSp add mod">
        <pc:chgData name="Thomas Stensitzki" userId="75cafe6b-2f2a-469b-85c4-eec3b9c972ba" providerId="ADAL" clId="{EF5284BB-E924-47D6-B186-EC378FA380D2}" dt="2023-05-25T10:50:53.853" v="4249"/>
        <pc:sldMkLst>
          <pc:docMk/>
          <pc:sldMk cId="158289274" sldId="737"/>
        </pc:sldMkLst>
        <pc:spChg chg="mod">
          <ac:chgData name="Thomas Stensitzki" userId="75cafe6b-2f2a-469b-85c4-eec3b9c972ba" providerId="ADAL" clId="{EF5284BB-E924-47D6-B186-EC378FA380D2}" dt="2023-05-25T10:50:53.853" v="4249"/>
          <ac:spMkLst>
            <pc:docMk/>
            <pc:sldMk cId="158289274" sldId="737"/>
            <ac:spMk id="4" creationId="{F4D7CAFB-9D55-07E7-22A0-3B4C1A31EE0D}"/>
          </ac:spMkLst>
        </pc:spChg>
        <pc:spChg chg="add mod">
          <ac:chgData name="Thomas Stensitzki" userId="75cafe6b-2f2a-469b-85c4-eec3b9c972ba" providerId="ADAL" clId="{EF5284BB-E924-47D6-B186-EC378FA380D2}" dt="2023-05-25T10:41:39.581" v="4112" actId="1076"/>
          <ac:spMkLst>
            <pc:docMk/>
            <pc:sldMk cId="158289274" sldId="737"/>
            <ac:spMk id="5" creationId="{4A676B6A-8119-39F2-AA45-C85912C80633}"/>
          </ac:spMkLst>
        </pc:spChg>
        <pc:picChg chg="add mod">
          <ac:chgData name="Thomas Stensitzki" userId="75cafe6b-2f2a-469b-85c4-eec3b9c972ba" providerId="ADAL" clId="{EF5284BB-E924-47D6-B186-EC378FA380D2}" dt="2023-05-25T10:41:27.973" v="4110" actId="1440"/>
          <ac:picMkLst>
            <pc:docMk/>
            <pc:sldMk cId="158289274" sldId="737"/>
            <ac:picMk id="3" creationId="{F1BCB3D8-BFD9-C141-E96B-704DFFC3D2F8}"/>
          </ac:picMkLst>
        </pc:picChg>
        <pc:picChg chg="del">
          <ac:chgData name="Thomas Stensitzki" userId="75cafe6b-2f2a-469b-85c4-eec3b9c972ba" providerId="ADAL" clId="{EF5284BB-E924-47D6-B186-EC378FA380D2}" dt="2023-05-25T10:41:23.827" v="4109" actId="478"/>
          <ac:picMkLst>
            <pc:docMk/>
            <pc:sldMk cId="158289274" sldId="737"/>
            <ac:picMk id="8" creationId="{1C26A925-17EC-0C90-D134-C8E7DC796406}"/>
          </ac:picMkLst>
        </pc:picChg>
      </pc:sldChg>
      <pc:sldChg chg="addSp delSp modSp add mod modAnim">
        <pc:chgData name="Thomas Stensitzki" userId="75cafe6b-2f2a-469b-85c4-eec3b9c972ba" providerId="ADAL" clId="{EF5284BB-E924-47D6-B186-EC378FA380D2}" dt="2023-05-25T10:50:47.308" v="4248" actId="20577"/>
        <pc:sldMkLst>
          <pc:docMk/>
          <pc:sldMk cId="4000776221" sldId="738"/>
        </pc:sldMkLst>
        <pc:spChg chg="mod">
          <ac:chgData name="Thomas Stensitzki" userId="75cafe6b-2f2a-469b-85c4-eec3b9c972ba" providerId="ADAL" clId="{EF5284BB-E924-47D6-B186-EC378FA380D2}" dt="2023-05-25T10:50:47.308" v="4248" actId="20577"/>
          <ac:spMkLst>
            <pc:docMk/>
            <pc:sldMk cId="4000776221" sldId="738"/>
            <ac:spMk id="4" creationId="{F4D7CAFB-9D55-07E7-22A0-3B4C1A31EE0D}"/>
          </ac:spMkLst>
        </pc:spChg>
        <pc:spChg chg="del">
          <ac:chgData name="Thomas Stensitzki" userId="75cafe6b-2f2a-469b-85c4-eec3b9c972ba" providerId="ADAL" clId="{EF5284BB-E924-47D6-B186-EC378FA380D2}" dt="2023-05-25T10:43:02.174" v="4115" actId="478"/>
          <ac:spMkLst>
            <pc:docMk/>
            <pc:sldMk cId="4000776221" sldId="738"/>
            <ac:spMk id="5" creationId="{4A676B6A-8119-39F2-AA45-C85912C80633}"/>
          </ac:spMkLst>
        </pc:spChg>
        <pc:spChg chg="add mod">
          <ac:chgData name="Thomas Stensitzki" userId="75cafe6b-2f2a-469b-85c4-eec3b9c972ba" providerId="ADAL" clId="{EF5284BB-E924-47D6-B186-EC378FA380D2}" dt="2023-05-25T10:44:10.756" v="4125" actId="1076"/>
          <ac:spMkLst>
            <pc:docMk/>
            <pc:sldMk cId="4000776221" sldId="738"/>
            <ac:spMk id="11" creationId="{F26EBBF3-A4D6-937E-577F-B85D141F9B93}"/>
          </ac:spMkLst>
        </pc:spChg>
        <pc:spChg chg="add mod">
          <ac:chgData name="Thomas Stensitzki" userId="75cafe6b-2f2a-469b-85c4-eec3b9c972ba" providerId="ADAL" clId="{EF5284BB-E924-47D6-B186-EC378FA380D2}" dt="2023-05-25T10:44:17.094" v="4127" actId="1076"/>
          <ac:spMkLst>
            <pc:docMk/>
            <pc:sldMk cId="4000776221" sldId="738"/>
            <ac:spMk id="12" creationId="{231AA4EB-E5A8-29F5-2B4B-0560726EF6E2}"/>
          </ac:spMkLst>
        </pc:spChg>
        <pc:picChg chg="del">
          <ac:chgData name="Thomas Stensitzki" userId="75cafe6b-2f2a-469b-85c4-eec3b9c972ba" providerId="ADAL" clId="{EF5284BB-E924-47D6-B186-EC378FA380D2}" dt="2023-05-25T10:43:01.342" v="4114" actId="478"/>
          <ac:picMkLst>
            <pc:docMk/>
            <pc:sldMk cId="4000776221" sldId="738"/>
            <ac:picMk id="3" creationId="{F1BCB3D8-BFD9-C141-E96B-704DFFC3D2F8}"/>
          </ac:picMkLst>
        </pc:picChg>
        <pc:picChg chg="add mod">
          <ac:chgData name="Thomas Stensitzki" userId="75cafe6b-2f2a-469b-85c4-eec3b9c972ba" providerId="ADAL" clId="{EF5284BB-E924-47D6-B186-EC378FA380D2}" dt="2023-05-25T10:43:10.358" v="4117" actId="1076"/>
          <ac:picMkLst>
            <pc:docMk/>
            <pc:sldMk cId="4000776221" sldId="738"/>
            <ac:picMk id="6" creationId="{C052585C-3202-F8FE-58C6-E2E32451DB66}"/>
          </ac:picMkLst>
        </pc:picChg>
        <pc:picChg chg="add mod">
          <ac:chgData name="Thomas Stensitzki" userId="75cafe6b-2f2a-469b-85c4-eec3b9c972ba" providerId="ADAL" clId="{EF5284BB-E924-47D6-B186-EC378FA380D2}" dt="2023-05-25T10:43:54.284" v="4122" actId="1076"/>
          <ac:picMkLst>
            <pc:docMk/>
            <pc:sldMk cId="4000776221" sldId="738"/>
            <ac:picMk id="8" creationId="{C1D03CE0-F240-9606-3318-E38DF48E9344}"/>
          </ac:picMkLst>
        </pc:picChg>
        <pc:picChg chg="add mod">
          <ac:chgData name="Thomas Stensitzki" userId="75cafe6b-2f2a-469b-85c4-eec3b9c972ba" providerId="ADAL" clId="{EF5284BB-E924-47D6-B186-EC378FA380D2}" dt="2023-05-25T10:43:51.620" v="4121" actId="1076"/>
          <ac:picMkLst>
            <pc:docMk/>
            <pc:sldMk cId="4000776221" sldId="738"/>
            <ac:picMk id="10" creationId="{048BC0EE-2844-9215-CF12-60613B89D82F}"/>
          </ac:picMkLst>
        </pc:picChg>
      </pc:sldChg>
      <pc:sldChg chg="addSp modSp new mod">
        <pc:chgData name="Thomas Stensitzki" userId="75cafe6b-2f2a-469b-85c4-eec3b9c972ba" providerId="ADAL" clId="{EF5284BB-E924-47D6-B186-EC378FA380D2}" dt="2023-05-25T10:50:36.011" v="4220" actId="14100"/>
        <pc:sldMkLst>
          <pc:docMk/>
          <pc:sldMk cId="3492126300" sldId="739"/>
        </pc:sldMkLst>
        <pc:spChg chg="mod">
          <ac:chgData name="Thomas Stensitzki" userId="75cafe6b-2f2a-469b-85c4-eec3b9c972ba" providerId="ADAL" clId="{EF5284BB-E924-47D6-B186-EC378FA380D2}" dt="2023-05-25T10:50:36.011" v="4220" actId="14100"/>
          <ac:spMkLst>
            <pc:docMk/>
            <pc:sldMk cId="3492126300" sldId="739"/>
            <ac:spMk id="2" creationId="{97E9250D-524B-948F-90E6-D89A9976E4AA}"/>
          </ac:spMkLst>
        </pc:spChg>
        <pc:spChg chg="add mod">
          <ac:chgData name="Thomas Stensitzki" userId="75cafe6b-2f2a-469b-85c4-eec3b9c972ba" providerId="ADAL" clId="{EF5284BB-E924-47D6-B186-EC378FA380D2}" dt="2023-05-25T10:46:50.501" v="4136" actId="1076"/>
          <ac:spMkLst>
            <pc:docMk/>
            <pc:sldMk cId="3492126300" sldId="739"/>
            <ac:spMk id="5" creationId="{ADCF37D5-4EA9-883F-517A-E718D8E63997}"/>
          </ac:spMkLst>
        </pc:spChg>
        <pc:picChg chg="add mod">
          <ac:chgData name="Thomas Stensitzki" userId="75cafe6b-2f2a-469b-85c4-eec3b9c972ba" providerId="ADAL" clId="{EF5284BB-E924-47D6-B186-EC378FA380D2}" dt="2023-05-25T10:46:41.303" v="4134" actId="1440"/>
          <ac:picMkLst>
            <pc:docMk/>
            <pc:sldMk cId="3492126300" sldId="739"/>
            <ac:picMk id="4" creationId="{C6607B7A-3798-4A71-F249-F7168E62DE91}"/>
          </ac:picMkLst>
        </pc:picChg>
      </pc:sldChg>
      <pc:sldChg chg="addSp delSp modSp add mod">
        <pc:chgData name="Thomas Stensitzki" userId="75cafe6b-2f2a-469b-85c4-eec3b9c972ba" providerId="ADAL" clId="{EF5284BB-E924-47D6-B186-EC378FA380D2}" dt="2023-05-25T10:50:10.650" v="4176" actId="20577"/>
        <pc:sldMkLst>
          <pc:docMk/>
          <pc:sldMk cId="4097662530" sldId="740"/>
        </pc:sldMkLst>
        <pc:spChg chg="mod">
          <ac:chgData name="Thomas Stensitzki" userId="75cafe6b-2f2a-469b-85c4-eec3b9c972ba" providerId="ADAL" clId="{EF5284BB-E924-47D6-B186-EC378FA380D2}" dt="2023-05-25T10:50:10.650" v="4176" actId="20577"/>
          <ac:spMkLst>
            <pc:docMk/>
            <pc:sldMk cId="4097662530" sldId="740"/>
            <ac:spMk id="2" creationId="{97E9250D-524B-948F-90E6-D89A9976E4AA}"/>
          </ac:spMkLst>
        </pc:spChg>
        <pc:spChg chg="del">
          <ac:chgData name="Thomas Stensitzki" userId="75cafe6b-2f2a-469b-85c4-eec3b9c972ba" providerId="ADAL" clId="{EF5284BB-E924-47D6-B186-EC378FA380D2}" dt="2023-05-25T10:48:07.453" v="4155" actId="478"/>
          <ac:spMkLst>
            <pc:docMk/>
            <pc:sldMk cId="4097662530" sldId="740"/>
            <ac:spMk id="5" creationId="{ADCF37D5-4EA9-883F-517A-E718D8E63997}"/>
          </ac:spMkLst>
        </pc:spChg>
        <pc:spChg chg="add mod">
          <ac:chgData name="Thomas Stensitzki" userId="75cafe6b-2f2a-469b-85c4-eec3b9c972ba" providerId="ADAL" clId="{EF5284BB-E924-47D6-B186-EC378FA380D2}" dt="2023-05-25T10:48:23.986" v="4159" actId="1076"/>
          <ac:spMkLst>
            <pc:docMk/>
            <pc:sldMk cId="4097662530" sldId="740"/>
            <ac:spMk id="7" creationId="{E1F24479-4A07-2911-BD16-E427D8B2646B}"/>
          </ac:spMkLst>
        </pc:spChg>
        <pc:picChg chg="del">
          <ac:chgData name="Thomas Stensitzki" userId="75cafe6b-2f2a-469b-85c4-eec3b9c972ba" providerId="ADAL" clId="{EF5284BB-E924-47D6-B186-EC378FA380D2}" dt="2023-05-25T10:48:07.453" v="4155" actId="478"/>
          <ac:picMkLst>
            <pc:docMk/>
            <pc:sldMk cId="4097662530" sldId="740"/>
            <ac:picMk id="4" creationId="{C6607B7A-3798-4A71-F249-F7168E62DE91}"/>
          </ac:picMkLst>
        </pc:picChg>
        <pc:picChg chg="add mod">
          <ac:chgData name="Thomas Stensitzki" userId="75cafe6b-2f2a-469b-85c4-eec3b9c972ba" providerId="ADAL" clId="{EF5284BB-E924-47D6-B186-EC378FA380D2}" dt="2023-05-25T10:48:14.851" v="4157" actId="1076"/>
          <ac:picMkLst>
            <pc:docMk/>
            <pc:sldMk cId="4097662530" sldId="740"/>
            <ac:picMk id="6" creationId="{C5E948D6-77D4-3754-98BD-F2B971C44276}"/>
          </ac:picMkLst>
        </pc:picChg>
      </pc:sldChg>
      <pc:sldChg chg="addSp delSp modSp new mod">
        <pc:chgData name="Thomas Stensitzki" userId="75cafe6b-2f2a-469b-85c4-eec3b9c972ba" providerId="ADAL" clId="{EF5284BB-E924-47D6-B186-EC378FA380D2}" dt="2023-05-25T14:39:10.763" v="5049" actId="1076"/>
        <pc:sldMkLst>
          <pc:docMk/>
          <pc:sldMk cId="980172925" sldId="741"/>
        </pc:sldMkLst>
        <pc:spChg chg="del mod">
          <ac:chgData name="Thomas Stensitzki" userId="75cafe6b-2f2a-469b-85c4-eec3b9c972ba" providerId="ADAL" clId="{EF5284BB-E924-47D6-B186-EC378FA380D2}" dt="2023-05-25T14:36:57.955" v="5043" actId="478"/>
          <ac:spMkLst>
            <pc:docMk/>
            <pc:sldMk cId="980172925" sldId="741"/>
            <ac:spMk id="2" creationId="{8F74483C-9F99-2323-7049-0AB99DA8E759}"/>
          </ac:spMkLst>
        </pc:spChg>
        <pc:spChg chg="del">
          <ac:chgData name="Thomas Stensitzki" userId="75cafe6b-2f2a-469b-85c4-eec3b9c972ba" providerId="ADAL" clId="{EF5284BB-E924-47D6-B186-EC378FA380D2}" dt="2023-05-25T14:35:26.719" v="5032" actId="478"/>
          <ac:spMkLst>
            <pc:docMk/>
            <pc:sldMk cId="980172925" sldId="741"/>
            <ac:spMk id="3" creationId="{D88324ED-DC2D-2F19-979D-E5F7FA5B4B2E}"/>
          </ac:spMkLst>
        </pc:spChg>
        <pc:spChg chg="add del mod">
          <ac:chgData name="Thomas Stensitzki" userId="75cafe6b-2f2a-469b-85c4-eec3b9c972ba" providerId="ADAL" clId="{EF5284BB-E924-47D6-B186-EC378FA380D2}" dt="2023-05-25T14:37:01.888" v="5044" actId="478"/>
          <ac:spMkLst>
            <pc:docMk/>
            <pc:sldMk cId="980172925" sldId="741"/>
            <ac:spMk id="6" creationId="{16F38E56-9DF9-B55A-64B2-E85EB95BAC25}"/>
          </ac:spMkLst>
        </pc:spChg>
        <pc:picChg chg="add mod">
          <ac:chgData name="Thomas Stensitzki" userId="75cafe6b-2f2a-469b-85c4-eec3b9c972ba" providerId="ADAL" clId="{EF5284BB-E924-47D6-B186-EC378FA380D2}" dt="2023-05-25T14:36:46.040" v="5040" actId="1076"/>
          <ac:picMkLst>
            <pc:docMk/>
            <pc:sldMk cId="980172925" sldId="741"/>
            <ac:picMk id="4" creationId="{401BDEF3-90E0-DBBA-9FF5-31659B075E2A}"/>
          </ac:picMkLst>
        </pc:picChg>
        <pc:picChg chg="add mod">
          <ac:chgData name="Thomas Stensitzki" userId="75cafe6b-2f2a-469b-85c4-eec3b9c972ba" providerId="ADAL" clId="{EF5284BB-E924-47D6-B186-EC378FA380D2}" dt="2023-05-25T14:39:10.763" v="5049" actId="1076"/>
          <ac:picMkLst>
            <pc:docMk/>
            <pc:sldMk cId="980172925" sldId="741"/>
            <ac:picMk id="8" creationId="{2EB55981-0768-CE03-F2D9-17DC21F5CED5}"/>
          </ac:picMkLst>
        </pc:picChg>
        <pc:picChg chg="add mod">
          <ac:chgData name="Thomas Stensitzki" userId="75cafe6b-2f2a-469b-85c4-eec3b9c972ba" providerId="ADAL" clId="{EF5284BB-E924-47D6-B186-EC378FA380D2}" dt="2023-05-25T14:36:42.129" v="5039" actId="1440"/>
          <ac:picMkLst>
            <pc:docMk/>
            <pc:sldMk cId="980172925" sldId="741"/>
            <ac:picMk id="1026" creationId="{A56E732E-05A6-05FC-08CC-655BB585349B}"/>
          </ac:picMkLst>
        </pc:picChg>
      </pc:sldChg>
      <pc:sldChg chg="modSp new del mod">
        <pc:chgData name="Thomas Stensitzki" userId="75cafe6b-2f2a-469b-85c4-eec3b9c972ba" providerId="ADAL" clId="{EF5284BB-E924-47D6-B186-EC378FA380D2}" dt="2023-05-25T14:46:48.245" v="5062" actId="2696"/>
        <pc:sldMkLst>
          <pc:docMk/>
          <pc:sldMk cId="1717136232" sldId="742"/>
        </pc:sldMkLst>
        <pc:spChg chg="mod">
          <ac:chgData name="Thomas Stensitzki" userId="75cafe6b-2f2a-469b-85c4-eec3b9c972ba" providerId="ADAL" clId="{EF5284BB-E924-47D6-B186-EC378FA380D2}" dt="2023-05-25T14:46:43.591" v="5061" actId="20577"/>
          <ac:spMkLst>
            <pc:docMk/>
            <pc:sldMk cId="1717136232" sldId="742"/>
            <ac:spMk id="2" creationId="{D2086B68-4BD3-442E-1FBD-043F41B2AE4C}"/>
          </ac:spMkLst>
        </pc:spChg>
      </pc:sldChg>
      <pc:sldChg chg="addSp delSp modSp new mod modClrScheme chgLayout">
        <pc:chgData name="Thomas Stensitzki" userId="75cafe6b-2f2a-469b-85c4-eec3b9c972ba" providerId="ADAL" clId="{EF5284BB-E924-47D6-B186-EC378FA380D2}" dt="2023-05-25T15:41:45.436" v="5109" actId="1076"/>
        <pc:sldMkLst>
          <pc:docMk/>
          <pc:sldMk cId="2087758615" sldId="742"/>
        </pc:sldMkLst>
        <pc:spChg chg="del mod ord">
          <ac:chgData name="Thomas Stensitzki" userId="75cafe6b-2f2a-469b-85c4-eec3b9c972ba" providerId="ADAL" clId="{EF5284BB-E924-47D6-B186-EC378FA380D2}" dt="2023-05-25T15:39:27.546" v="5072" actId="700"/>
          <ac:spMkLst>
            <pc:docMk/>
            <pc:sldMk cId="2087758615" sldId="742"/>
            <ac:spMk id="2" creationId="{461EA2ED-4498-CB34-EEF5-CBBF37E8B185}"/>
          </ac:spMkLst>
        </pc:spChg>
        <pc:spChg chg="del">
          <ac:chgData name="Thomas Stensitzki" userId="75cafe6b-2f2a-469b-85c4-eec3b9c972ba" providerId="ADAL" clId="{EF5284BB-E924-47D6-B186-EC378FA380D2}" dt="2023-05-25T15:39:27.546" v="5072" actId="700"/>
          <ac:spMkLst>
            <pc:docMk/>
            <pc:sldMk cId="2087758615" sldId="742"/>
            <ac:spMk id="3" creationId="{37777BD8-C652-0141-435E-B4D3840E8341}"/>
          </ac:spMkLst>
        </pc:spChg>
        <pc:spChg chg="add mod ord">
          <ac:chgData name="Thomas Stensitzki" userId="75cafe6b-2f2a-469b-85c4-eec3b9c972ba" providerId="ADAL" clId="{EF5284BB-E924-47D6-B186-EC378FA380D2}" dt="2023-05-25T15:39:34.457" v="5101" actId="20577"/>
          <ac:spMkLst>
            <pc:docMk/>
            <pc:sldMk cId="2087758615" sldId="742"/>
            <ac:spMk id="6" creationId="{352435B0-CDA2-673A-6C8D-5D4889CF8713}"/>
          </ac:spMkLst>
        </pc:spChg>
        <pc:spChg chg="add mod">
          <ac:chgData name="Thomas Stensitzki" userId="75cafe6b-2f2a-469b-85c4-eec3b9c972ba" providerId="ADAL" clId="{EF5284BB-E924-47D6-B186-EC378FA380D2}" dt="2023-05-25T15:41:45.436" v="5109" actId="1076"/>
          <ac:spMkLst>
            <pc:docMk/>
            <pc:sldMk cId="2087758615" sldId="742"/>
            <ac:spMk id="7" creationId="{46285721-03E8-4963-D456-1E603B70E3DE}"/>
          </ac:spMkLst>
        </pc:spChg>
        <pc:picChg chg="add mod">
          <ac:chgData name="Thomas Stensitzki" userId="75cafe6b-2f2a-469b-85c4-eec3b9c972ba" providerId="ADAL" clId="{EF5284BB-E924-47D6-B186-EC378FA380D2}" dt="2023-05-25T15:41:42.369" v="5108" actId="1076"/>
          <ac:picMkLst>
            <pc:docMk/>
            <pc:sldMk cId="2087758615" sldId="742"/>
            <ac:picMk id="5" creationId="{71EF0DB3-CBB7-CF10-38F1-D56A5BA7F42D}"/>
          </ac:picMkLst>
        </pc:picChg>
      </pc:sldChg>
    </pc:docChg>
  </pc:docChgLst>
  <pc:docChgLst>
    <pc:chgData name="Thomas Stensitzki" userId="75cafe6b-2f2a-469b-85c4-eec3b9c972ba" providerId="ADAL" clId="{13A7DD84-EBC7-44DF-A4B8-478E332BAF16}"/>
    <pc:docChg chg="undo custSel addSld delSld modSld sldOrd modSection">
      <pc:chgData name="Thomas Stensitzki" userId="75cafe6b-2f2a-469b-85c4-eec3b9c972ba" providerId="ADAL" clId="{13A7DD84-EBC7-44DF-A4B8-478E332BAF16}" dt="2021-08-12T18:30:02.192" v="1854" actId="1076"/>
      <pc:docMkLst>
        <pc:docMk/>
      </pc:docMkLst>
      <pc:sldChg chg="modSp mod">
        <pc:chgData name="Thomas Stensitzki" userId="75cafe6b-2f2a-469b-85c4-eec3b9c972ba" providerId="ADAL" clId="{13A7DD84-EBC7-44DF-A4B8-478E332BAF16}" dt="2021-08-05T16:07:11.930" v="18" actId="20577"/>
        <pc:sldMkLst>
          <pc:docMk/>
          <pc:sldMk cId="671489701" sldId="256"/>
        </pc:sldMkLst>
        <pc:spChg chg="mod">
          <ac:chgData name="Thomas Stensitzki" userId="75cafe6b-2f2a-469b-85c4-eec3b9c972ba" providerId="ADAL" clId="{13A7DD84-EBC7-44DF-A4B8-478E332BAF16}" dt="2021-08-05T16:07:11.930" v="18" actId="20577"/>
          <ac:spMkLst>
            <pc:docMk/>
            <pc:sldMk cId="671489701" sldId="256"/>
            <ac:spMk id="3" creationId="{CBA95633-B02D-4A15-A8B1-A38E0A70FD27}"/>
          </ac:spMkLst>
        </pc:spChg>
      </pc:sldChg>
      <pc:sldChg chg="modSp mod">
        <pc:chgData name="Thomas Stensitzki" userId="75cafe6b-2f2a-469b-85c4-eec3b9c972ba" providerId="ADAL" clId="{13A7DD84-EBC7-44DF-A4B8-478E332BAF16}" dt="2021-08-12T15:32:07.902" v="1639" actId="20577"/>
        <pc:sldMkLst>
          <pc:docMk/>
          <pc:sldMk cId="2855324227" sldId="257"/>
        </pc:sldMkLst>
        <pc:spChg chg="mod">
          <ac:chgData name="Thomas Stensitzki" userId="75cafe6b-2f2a-469b-85c4-eec3b9c972ba" providerId="ADAL" clId="{13A7DD84-EBC7-44DF-A4B8-478E332BAF16}" dt="2021-08-12T15:32:07.902" v="1639" actId="20577"/>
          <ac:spMkLst>
            <pc:docMk/>
            <pc:sldMk cId="2855324227" sldId="257"/>
            <ac:spMk id="5" creationId="{EE6719E1-4DB6-4D58-BA77-937CF975247C}"/>
          </ac:spMkLst>
        </pc:spChg>
        <pc:graphicFrameChg chg="mod modGraphic">
          <ac:chgData name="Thomas Stensitzki" userId="75cafe6b-2f2a-469b-85c4-eec3b9c972ba" providerId="ADAL" clId="{13A7DD84-EBC7-44DF-A4B8-478E332BAF16}" dt="2021-08-05T16:10:21.858" v="53" actId="15"/>
          <ac:graphicFrameMkLst>
            <pc:docMk/>
            <pc:sldMk cId="2855324227" sldId="257"/>
            <ac:graphicFrameMk id="6" creationId="{0F955DCC-462D-431D-BBDE-26F10687D590}"/>
          </ac:graphicFrameMkLst>
        </pc:graphicFrameChg>
      </pc:sldChg>
      <pc:sldChg chg="delSp modSp mod">
        <pc:chgData name="Thomas Stensitzki" userId="75cafe6b-2f2a-469b-85c4-eec3b9c972ba" providerId="ADAL" clId="{13A7DD84-EBC7-44DF-A4B8-478E332BAF16}" dt="2021-08-10T17:34:58.104" v="1556" actId="6549"/>
        <pc:sldMkLst>
          <pc:docMk/>
          <pc:sldMk cId="3332792154" sldId="258"/>
        </pc:sldMkLst>
        <pc:spChg chg="mod">
          <ac:chgData name="Thomas Stensitzki" userId="75cafe6b-2f2a-469b-85c4-eec3b9c972ba" providerId="ADAL" clId="{13A7DD84-EBC7-44DF-A4B8-478E332BAF16}" dt="2021-08-10T17:34:58.104" v="1556" actId="6549"/>
          <ac:spMkLst>
            <pc:docMk/>
            <pc:sldMk cId="3332792154" sldId="258"/>
            <ac:spMk id="3" creationId="{3A5A44EB-7FB9-473A-8ED3-C49DDD2E65AB}"/>
          </ac:spMkLst>
        </pc:spChg>
        <pc:picChg chg="del">
          <ac:chgData name="Thomas Stensitzki" userId="75cafe6b-2f2a-469b-85c4-eec3b9c972ba" providerId="ADAL" clId="{13A7DD84-EBC7-44DF-A4B8-478E332BAF16}" dt="2021-08-10T17:33:39.840" v="1539" actId="478"/>
          <ac:picMkLst>
            <pc:docMk/>
            <pc:sldMk cId="3332792154" sldId="258"/>
            <ac:picMk id="5" creationId="{EEE89219-4CF0-44A2-811B-A2CBC860BCCC}"/>
          </ac:picMkLst>
        </pc:picChg>
      </pc:sldChg>
      <pc:sldChg chg="addSp modSp mod">
        <pc:chgData name="Thomas Stensitzki" userId="75cafe6b-2f2a-469b-85c4-eec3b9c972ba" providerId="ADAL" clId="{13A7DD84-EBC7-44DF-A4B8-478E332BAF16}" dt="2021-08-12T18:30:02.192" v="1854" actId="1076"/>
        <pc:sldMkLst>
          <pc:docMk/>
          <pc:sldMk cId="2698998357" sldId="260"/>
        </pc:sldMkLst>
        <pc:spChg chg="mod">
          <ac:chgData name="Thomas Stensitzki" userId="75cafe6b-2f2a-469b-85c4-eec3b9c972ba" providerId="ADAL" clId="{13A7DD84-EBC7-44DF-A4B8-478E332BAF16}" dt="2021-08-05T16:10:43.636" v="54"/>
          <ac:spMkLst>
            <pc:docMk/>
            <pc:sldMk cId="2698998357" sldId="260"/>
            <ac:spMk id="4" creationId="{F3A15CBD-C746-44A3-A4F0-4898CE2F02E6}"/>
          </ac:spMkLst>
        </pc:spChg>
        <pc:spChg chg="mod">
          <ac:chgData name="Thomas Stensitzki" userId="75cafe6b-2f2a-469b-85c4-eec3b9c972ba" providerId="ADAL" clId="{13A7DD84-EBC7-44DF-A4B8-478E332BAF16}" dt="2021-08-05T16:11:10.016" v="62" actId="6549"/>
          <ac:spMkLst>
            <pc:docMk/>
            <pc:sldMk cId="2698998357" sldId="260"/>
            <ac:spMk id="5" creationId="{F3459BE7-1731-4733-A912-12977C68CFD6}"/>
          </ac:spMkLst>
        </pc:spChg>
        <pc:spChg chg="add mod">
          <ac:chgData name="Thomas Stensitzki" userId="75cafe6b-2f2a-469b-85c4-eec3b9c972ba" providerId="ADAL" clId="{13A7DD84-EBC7-44DF-A4B8-478E332BAF16}" dt="2021-08-12T18:30:02.192" v="1854" actId="1076"/>
          <ac:spMkLst>
            <pc:docMk/>
            <pc:sldMk cId="2698998357" sldId="260"/>
            <ac:spMk id="6" creationId="{AC7B595A-A4C5-4A86-B8F3-29469F0A7A0E}"/>
          </ac:spMkLst>
        </pc:spChg>
      </pc:sldChg>
      <pc:sldChg chg="addSp modSp mod">
        <pc:chgData name="Thomas Stensitzki" userId="75cafe6b-2f2a-469b-85c4-eec3b9c972ba" providerId="ADAL" clId="{13A7DD84-EBC7-44DF-A4B8-478E332BAF16}" dt="2021-08-05T16:55:34.656" v="859" actId="1076"/>
        <pc:sldMkLst>
          <pc:docMk/>
          <pc:sldMk cId="4007670073" sldId="268"/>
        </pc:sldMkLst>
        <pc:spChg chg="add mod">
          <ac:chgData name="Thomas Stensitzki" userId="75cafe6b-2f2a-469b-85c4-eec3b9c972ba" providerId="ADAL" clId="{13A7DD84-EBC7-44DF-A4B8-478E332BAF16}" dt="2021-08-05T16:55:34.656" v="859" actId="1076"/>
          <ac:spMkLst>
            <pc:docMk/>
            <pc:sldMk cId="4007670073" sldId="268"/>
            <ac:spMk id="2" creationId="{A0204B4B-AC00-4A91-B83C-FDA5915CC9E5}"/>
          </ac:spMkLst>
        </pc:spChg>
        <pc:spChg chg="mod">
          <ac:chgData name="Thomas Stensitzki" userId="75cafe6b-2f2a-469b-85c4-eec3b9c972ba" providerId="ADAL" clId="{13A7DD84-EBC7-44DF-A4B8-478E332BAF16}" dt="2021-08-05T16:52:56.837" v="832" actId="20577"/>
          <ac:spMkLst>
            <pc:docMk/>
            <pc:sldMk cId="4007670073" sldId="268"/>
            <ac:spMk id="4" creationId="{F3A15CBD-C746-44A3-A4F0-4898CE2F02E6}"/>
          </ac:spMkLst>
        </pc:spChg>
      </pc:sldChg>
      <pc:sldChg chg="modSp mod">
        <pc:chgData name="Thomas Stensitzki" userId="75cafe6b-2f2a-469b-85c4-eec3b9c972ba" providerId="ADAL" clId="{13A7DD84-EBC7-44DF-A4B8-478E332BAF16}" dt="2021-08-12T18:29:18.029" v="1853" actId="3626"/>
        <pc:sldMkLst>
          <pc:docMk/>
          <pc:sldMk cId="2721051844" sldId="269"/>
        </pc:sldMkLst>
        <pc:spChg chg="mod">
          <ac:chgData name="Thomas Stensitzki" userId="75cafe6b-2f2a-469b-85c4-eec3b9c972ba" providerId="ADAL" clId="{13A7DD84-EBC7-44DF-A4B8-478E332BAF16}" dt="2021-08-12T18:29:18.029" v="1853" actId="3626"/>
          <ac:spMkLst>
            <pc:docMk/>
            <pc:sldMk cId="2721051844" sldId="269"/>
            <ac:spMk id="5" creationId="{C24DACB5-1BEC-4C86-9652-BAFD8DE56FEF}"/>
          </ac:spMkLst>
        </pc:spChg>
      </pc:sldChg>
      <pc:sldChg chg="mod modShow">
        <pc:chgData name="Thomas Stensitzki" userId="75cafe6b-2f2a-469b-85c4-eec3b9c972ba" providerId="ADAL" clId="{13A7DD84-EBC7-44DF-A4B8-478E332BAF16}" dt="2021-08-12T16:19:08.578" v="1666" actId="729"/>
        <pc:sldMkLst>
          <pc:docMk/>
          <pc:sldMk cId="466045460" sldId="296"/>
        </pc:sldMkLst>
      </pc:sldChg>
      <pc:sldChg chg="modSp mod modShow">
        <pc:chgData name="Thomas Stensitzki" userId="75cafe6b-2f2a-469b-85c4-eec3b9c972ba" providerId="ADAL" clId="{13A7DD84-EBC7-44DF-A4B8-478E332BAF16}" dt="2021-08-10T17:00:17.967" v="1538" actId="20577"/>
        <pc:sldMkLst>
          <pc:docMk/>
          <pc:sldMk cId="53967156" sldId="297"/>
        </pc:sldMkLst>
        <pc:spChg chg="mod">
          <ac:chgData name="Thomas Stensitzki" userId="75cafe6b-2f2a-469b-85c4-eec3b9c972ba" providerId="ADAL" clId="{13A7DD84-EBC7-44DF-A4B8-478E332BAF16}" dt="2021-08-10T17:00:08.381" v="1518" actId="20577"/>
          <ac:spMkLst>
            <pc:docMk/>
            <pc:sldMk cId="53967156" sldId="297"/>
            <ac:spMk id="4" creationId="{F3A15CBD-C746-44A3-A4F0-4898CE2F02E6}"/>
          </ac:spMkLst>
        </pc:spChg>
        <pc:spChg chg="mod">
          <ac:chgData name="Thomas Stensitzki" userId="75cafe6b-2f2a-469b-85c4-eec3b9c972ba" providerId="ADAL" clId="{13A7DD84-EBC7-44DF-A4B8-478E332BAF16}" dt="2021-08-10T17:00:17.967" v="1538" actId="20577"/>
          <ac:spMkLst>
            <pc:docMk/>
            <pc:sldMk cId="53967156" sldId="297"/>
            <ac:spMk id="5" creationId="{F3459BE7-1731-4733-A912-12977C68CFD6}"/>
          </ac:spMkLst>
        </pc:spChg>
      </pc:sldChg>
      <pc:sldChg chg="modSp mod">
        <pc:chgData name="Thomas Stensitzki" userId="75cafe6b-2f2a-469b-85c4-eec3b9c972ba" providerId="ADAL" clId="{13A7DD84-EBC7-44DF-A4B8-478E332BAF16}" dt="2021-08-10T16:56:32.392" v="1474" actId="20577"/>
        <pc:sldMkLst>
          <pc:docMk/>
          <pc:sldMk cId="3298503951" sldId="372"/>
        </pc:sldMkLst>
        <pc:spChg chg="mod">
          <ac:chgData name="Thomas Stensitzki" userId="75cafe6b-2f2a-469b-85c4-eec3b9c972ba" providerId="ADAL" clId="{13A7DD84-EBC7-44DF-A4B8-478E332BAF16}" dt="2021-08-10T16:54:47.203" v="1341" actId="1036"/>
          <ac:spMkLst>
            <pc:docMk/>
            <pc:sldMk cId="3298503951" sldId="372"/>
            <ac:spMk id="2" creationId="{909DC09D-B9A6-4493-9A72-1CA7ECB1F5CA}"/>
          </ac:spMkLst>
        </pc:spChg>
        <pc:spChg chg="mod">
          <ac:chgData name="Thomas Stensitzki" userId="75cafe6b-2f2a-469b-85c4-eec3b9c972ba" providerId="ADAL" clId="{13A7DD84-EBC7-44DF-A4B8-478E332BAF16}" dt="2021-08-10T16:56:32.392" v="1474" actId="20577"/>
          <ac:spMkLst>
            <pc:docMk/>
            <pc:sldMk cId="3298503951" sldId="372"/>
            <ac:spMk id="5" creationId="{C24DACB5-1BEC-4C86-9652-BAFD8DE56FEF}"/>
          </ac:spMkLst>
        </pc:spChg>
      </pc:sldChg>
      <pc:sldChg chg="modSp mod modNotesTx">
        <pc:chgData name="Thomas Stensitzki" userId="75cafe6b-2f2a-469b-85c4-eec3b9c972ba" providerId="ADAL" clId="{13A7DD84-EBC7-44DF-A4B8-478E332BAF16}" dt="2021-08-10T16:52:12.647" v="1184" actId="20577"/>
        <pc:sldMkLst>
          <pc:docMk/>
          <pc:sldMk cId="2227487991" sldId="378"/>
        </pc:sldMkLst>
        <pc:spChg chg="mod">
          <ac:chgData name="Thomas Stensitzki" userId="75cafe6b-2f2a-469b-85c4-eec3b9c972ba" providerId="ADAL" clId="{13A7DD84-EBC7-44DF-A4B8-478E332BAF16}" dt="2021-08-10T16:52:05.644" v="1181" actId="14100"/>
          <ac:spMkLst>
            <pc:docMk/>
            <pc:sldMk cId="2227487991" sldId="378"/>
            <ac:spMk id="2" creationId="{909DC09D-B9A6-4493-9A72-1CA7ECB1F5CA}"/>
          </ac:spMkLst>
        </pc:spChg>
        <pc:spChg chg="mod">
          <ac:chgData name="Thomas Stensitzki" userId="75cafe6b-2f2a-469b-85c4-eec3b9c972ba" providerId="ADAL" clId="{13A7DD84-EBC7-44DF-A4B8-478E332BAF16}" dt="2021-08-10T16:52:12.647" v="1184" actId="20577"/>
          <ac:spMkLst>
            <pc:docMk/>
            <pc:sldMk cId="2227487991" sldId="378"/>
            <ac:spMk id="5" creationId="{C24DACB5-1BEC-4C86-9652-BAFD8DE56FEF}"/>
          </ac:spMkLst>
        </pc:spChg>
      </pc:sldChg>
      <pc:sldChg chg="del">
        <pc:chgData name="Thomas Stensitzki" userId="75cafe6b-2f2a-469b-85c4-eec3b9c972ba" providerId="ADAL" clId="{13A7DD84-EBC7-44DF-A4B8-478E332BAF16}" dt="2021-08-05T16:11:45.220" v="63" actId="47"/>
        <pc:sldMkLst>
          <pc:docMk/>
          <pc:sldMk cId="4126930427" sldId="379"/>
        </pc:sldMkLst>
      </pc:sldChg>
      <pc:sldChg chg="addSp delSp modSp mod modAnim modNotesTx">
        <pc:chgData name="Thomas Stensitzki" userId="75cafe6b-2f2a-469b-85c4-eec3b9c972ba" providerId="ADAL" clId="{13A7DD84-EBC7-44DF-A4B8-478E332BAF16}" dt="2021-08-12T16:42:00.689" v="1670" actId="6549"/>
        <pc:sldMkLst>
          <pc:docMk/>
          <pc:sldMk cId="2708846828" sldId="392"/>
        </pc:sldMkLst>
        <pc:spChg chg="mod">
          <ac:chgData name="Thomas Stensitzki" userId="75cafe6b-2f2a-469b-85c4-eec3b9c972ba" providerId="ADAL" clId="{13A7DD84-EBC7-44DF-A4B8-478E332BAF16}" dt="2021-08-05T16:19:05.858" v="191"/>
          <ac:spMkLst>
            <pc:docMk/>
            <pc:sldMk cId="2708846828" sldId="392"/>
            <ac:spMk id="2" creationId="{11E5EEC8-6493-4BA0-8811-4A3F48FE62AF}"/>
          </ac:spMkLst>
        </pc:spChg>
        <pc:spChg chg="add mod">
          <ac:chgData name="Thomas Stensitzki" userId="75cafe6b-2f2a-469b-85c4-eec3b9c972ba" providerId="ADAL" clId="{13A7DD84-EBC7-44DF-A4B8-478E332BAF16}" dt="2021-08-05T16:20:15.988" v="198" actId="13822"/>
          <ac:spMkLst>
            <pc:docMk/>
            <pc:sldMk cId="2708846828" sldId="392"/>
            <ac:spMk id="4" creationId="{4B460319-C2AC-46BD-BB41-CCCE83446E62}"/>
          </ac:spMkLst>
        </pc:spChg>
        <pc:spChg chg="add del mod">
          <ac:chgData name="Thomas Stensitzki" userId="75cafe6b-2f2a-469b-85c4-eec3b9c972ba" providerId="ADAL" clId="{13A7DD84-EBC7-44DF-A4B8-478E332BAF16}" dt="2021-08-05T16:49:54.839" v="751" actId="22"/>
          <ac:spMkLst>
            <pc:docMk/>
            <pc:sldMk cId="2708846828" sldId="392"/>
            <ac:spMk id="9" creationId="{E9288DC5-AFC0-4DB6-B4A4-627BBBCF00EE}"/>
          </ac:spMkLst>
        </pc:spChg>
        <pc:spChg chg="add mod">
          <ac:chgData name="Thomas Stensitzki" userId="75cafe6b-2f2a-469b-85c4-eec3b9c972ba" providerId="ADAL" clId="{13A7DD84-EBC7-44DF-A4B8-478E332BAF16}" dt="2021-08-12T16:42:00.689" v="1670" actId="6549"/>
          <ac:spMkLst>
            <pc:docMk/>
            <pc:sldMk cId="2708846828" sldId="392"/>
            <ac:spMk id="10" creationId="{465D1869-94E2-48F5-88B2-613F26C28571}"/>
          </ac:spMkLst>
        </pc:spChg>
        <pc:picChg chg="add mod">
          <ac:chgData name="Thomas Stensitzki" userId="75cafe6b-2f2a-469b-85c4-eec3b9c972ba" providerId="ADAL" clId="{13A7DD84-EBC7-44DF-A4B8-478E332BAF16}" dt="2021-08-05T16:21:39.153" v="210" actId="1582"/>
          <ac:picMkLst>
            <pc:docMk/>
            <pc:sldMk cId="2708846828" sldId="392"/>
            <ac:picMk id="3" creationId="{EF48EADF-098B-48A7-81B5-5F2B9EF826B8}"/>
          </ac:picMkLst>
        </pc:picChg>
        <pc:picChg chg="add mod">
          <ac:chgData name="Thomas Stensitzki" userId="75cafe6b-2f2a-469b-85c4-eec3b9c972ba" providerId="ADAL" clId="{13A7DD84-EBC7-44DF-A4B8-478E332BAF16}" dt="2021-08-05T16:22:41.990" v="218" actId="1037"/>
          <ac:picMkLst>
            <pc:docMk/>
            <pc:sldMk cId="2708846828" sldId="392"/>
            <ac:picMk id="5" creationId="{7634E70F-E0ED-4ADB-A719-FDA7F58424B4}"/>
          </ac:picMkLst>
        </pc:picChg>
        <pc:picChg chg="del">
          <ac:chgData name="Thomas Stensitzki" userId="75cafe6b-2f2a-469b-85c4-eec3b9c972ba" providerId="ADAL" clId="{13A7DD84-EBC7-44DF-A4B8-478E332BAF16}" dt="2021-08-05T16:19:07.822" v="192" actId="478"/>
          <ac:picMkLst>
            <pc:docMk/>
            <pc:sldMk cId="2708846828" sldId="392"/>
            <ac:picMk id="1026" creationId="{043285E5-2210-4AFC-A5D8-BFCD39482712}"/>
          </ac:picMkLst>
        </pc:picChg>
        <pc:picChg chg="add mod">
          <ac:chgData name="Thomas Stensitzki" userId="75cafe6b-2f2a-469b-85c4-eec3b9c972ba" providerId="ADAL" clId="{13A7DD84-EBC7-44DF-A4B8-478E332BAF16}" dt="2021-08-05T16:23:23.392" v="223" actId="1582"/>
          <ac:picMkLst>
            <pc:docMk/>
            <pc:sldMk cId="2708846828" sldId="392"/>
            <ac:picMk id="1028" creationId="{A0C7C483-8988-43C4-9B17-B143FA5E03E0}"/>
          </ac:picMkLst>
        </pc:picChg>
      </pc:sldChg>
      <pc:sldChg chg="del">
        <pc:chgData name="Thomas Stensitzki" userId="75cafe6b-2f2a-469b-85c4-eec3b9c972ba" providerId="ADAL" clId="{13A7DD84-EBC7-44DF-A4B8-478E332BAF16}" dt="2021-08-12T15:31:27.389" v="1637" actId="2696"/>
        <pc:sldMkLst>
          <pc:docMk/>
          <pc:sldMk cId="3890497020" sldId="426"/>
        </pc:sldMkLst>
      </pc:sldChg>
      <pc:sldChg chg="del">
        <pc:chgData name="Thomas Stensitzki" userId="75cafe6b-2f2a-469b-85c4-eec3b9c972ba" providerId="ADAL" clId="{13A7DD84-EBC7-44DF-A4B8-478E332BAF16}" dt="2021-08-05T16:11:45.220" v="63" actId="47"/>
        <pc:sldMkLst>
          <pc:docMk/>
          <pc:sldMk cId="1307627255" sldId="427"/>
        </pc:sldMkLst>
      </pc:sldChg>
      <pc:sldChg chg="del">
        <pc:chgData name="Thomas Stensitzki" userId="75cafe6b-2f2a-469b-85c4-eec3b9c972ba" providerId="ADAL" clId="{13A7DD84-EBC7-44DF-A4B8-478E332BAF16}" dt="2021-08-05T16:18:05.112" v="182" actId="47"/>
        <pc:sldMkLst>
          <pc:docMk/>
          <pc:sldMk cId="2443006273" sldId="428"/>
        </pc:sldMkLst>
      </pc:sldChg>
      <pc:sldChg chg="del">
        <pc:chgData name="Thomas Stensitzki" userId="75cafe6b-2f2a-469b-85c4-eec3b9c972ba" providerId="ADAL" clId="{13A7DD84-EBC7-44DF-A4B8-478E332BAF16}" dt="2021-08-05T16:18:05.112" v="182" actId="47"/>
        <pc:sldMkLst>
          <pc:docMk/>
          <pc:sldMk cId="3040654567" sldId="429"/>
        </pc:sldMkLst>
      </pc:sldChg>
      <pc:sldChg chg="del">
        <pc:chgData name="Thomas Stensitzki" userId="75cafe6b-2f2a-469b-85c4-eec3b9c972ba" providerId="ADAL" clId="{13A7DD84-EBC7-44DF-A4B8-478E332BAF16}" dt="2021-08-05T16:18:05.112" v="182" actId="47"/>
        <pc:sldMkLst>
          <pc:docMk/>
          <pc:sldMk cId="4042123349" sldId="430"/>
        </pc:sldMkLst>
      </pc:sldChg>
      <pc:sldChg chg="del">
        <pc:chgData name="Thomas Stensitzki" userId="75cafe6b-2f2a-469b-85c4-eec3b9c972ba" providerId="ADAL" clId="{13A7DD84-EBC7-44DF-A4B8-478E332BAF16}" dt="2021-08-05T16:11:45.220" v="63" actId="47"/>
        <pc:sldMkLst>
          <pc:docMk/>
          <pc:sldMk cId="1699899763" sldId="431"/>
        </pc:sldMkLst>
      </pc:sldChg>
      <pc:sldChg chg="del">
        <pc:chgData name="Thomas Stensitzki" userId="75cafe6b-2f2a-469b-85c4-eec3b9c972ba" providerId="ADAL" clId="{13A7DD84-EBC7-44DF-A4B8-478E332BAF16}" dt="2021-08-05T16:18:05.112" v="182" actId="47"/>
        <pc:sldMkLst>
          <pc:docMk/>
          <pc:sldMk cId="3748413395" sldId="432"/>
        </pc:sldMkLst>
      </pc:sldChg>
      <pc:sldChg chg="del">
        <pc:chgData name="Thomas Stensitzki" userId="75cafe6b-2f2a-469b-85c4-eec3b9c972ba" providerId="ADAL" clId="{13A7DD84-EBC7-44DF-A4B8-478E332BAF16}" dt="2021-08-05T16:11:45.220" v="63" actId="47"/>
        <pc:sldMkLst>
          <pc:docMk/>
          <pc:sldMk cId="2909965873" sldId="433"/>
        </pc:sldMkLst>
      </pc:sldChg>
      <pc:sldChg chg="del">
        <pc:chgData name="Thomas Stensitzki" userId="75cafe6b-2f2a-469b-85c4-eec3b9c972ba" providerId="ADAL" clId="{13A7DD84-EBC7-44DF-A4B8-478E332BAF16}" dt="2021-08-05T16:11:45.220" v="63" actId="47"/>
        <pc:sldMkLst>
          <pc:docMk/>
          <pc:sldMk cId="2687296234" sldId="434"/>
        </pc:sldMkLst>
      </pc:sldChg>
      <pc:sldChg chg="del">
        <pc:chgData name="Thomas Stensitzki" userId="75cafe6b-2f2a-469b-85c4-eec3b9c972ba" providerId="ADAL" clId="{13A7DD84-EBC7-44DF-A4B8-478E332BAF16}" dt="2021-08-05T16:11:45.220" v="63" actId="47"/>
        <pc:sldMkLst>
          <pc:docMk/>
          <pc:sldMk cId="3916441034" sldId="435"/>
        </pc:sldMkLst>
      </pc:sldChg>
      <pc:sldChg chg="del">
        <pc:chgData name="Thomas Stensitzki" userId="75cafe6b-2f2a-469b-85c4-eec3b9c972ba" providerId="ADAL" clId="{13A7DD84-EBC7-44DF-A4B8-478E332BAF16}" dt="2021-08-05T16:18:05.112" v="182" actId="47"/>
        <pc:sldMkLst>
          <pc:docMk/>
          <pc:sldMk cId="2665106704" sldId="437"/>
        </pc:sldMkLst>
      </pc:sldChg>
      <pc:sldChg chg="del">
        <pc:chgData name="Thomas Stensitzki" userId="75cafe6b-2f2a-469b-85c4-eec3b9c972ba" providerId="ADAL" clId="{13A7DD84-EBC7-44DF-A4B8-478E332BAF16}" dt="2021-08-05T16:11:45.220" v="63" actId="47"/>
        <pc:sldMkLst>
          <pc:docMk/>
          <pc:sldMk cId="1968010775" sldId="438"/>
        </pc:sldMkLst>
      </pc:sldChg>
      <pc:sldChg chg="del">
        <pc:chgData name="Thomas Stensitzki" userId="75cafe6b-2f2a-469b-85c4-eec3b9c972ba" providerId="ADAL" clId="{13A7DD84-EBC7-44DF-A4B8-478E332BAF16}" dt="2021-08-05T16:18:05.112" v="182" actId="47"/>
        <pc:sldMkLst>
          <pc:docMk/>
          <pc:sldMk cId="2987264023" sldId="439"/>
        </pc:sldMkLst>
      </pc:sldChg>
      <pc:sldChg chg="del">
        <pc:chgData name="Thomas Stensitzki" userId="75cafe6b-2f2a-469b-85c4-eec3b9c972ba" providerId="ADAL" clId="{13A7DD84-EBC7-44DF-A4B8-478E332BAF16}" dt="2021-08-05T16:11:45.220" v="63" actId="47"/>
        <pc:sldMkLst>
          <pc:docMk/>
          <pc:sldMk cId="1174508103" sldId="440"/>
        </pc:sldMkLst>
      </pc:sldChg>
      <pc:sldChg chg="del">
        <pc:chgData name="Thomas Stensitzki" userId="75cafe6b-2f2a-469b-85c4-eec3b9c972ba" providerId="ADAL" clId="{13A7DD84-EBC7-44DF-A4B8-478E332BAF16}" dt="2021-08-05T16:11:45.220" v="63" actId="47"/>
        <pc:sldMkLst>
          <pc:docMk/>
          <pc:sldMk cId="1134792597" sldId="441"/>
        </pc:sldMkLst>
      </pc:sldChg>
      <pc:sldChg chg="del">
        <pc:chgData name="Thomas Stensitzki" userId="75cafe6b-2f2a-469b-85c4-eec3b9c972ba" providerId="ADAL" clId="{13A7DD84-EBC7-44DF-A4B8-478E332BAF16}" dt="2021-08-05T16:11:45.220" v="63" actId="47"/>
        <pc:sldMkLst>
          <pc:docMk/>
          <pc:sldMk cId="3082151148" sldId="442"/>
        </pc:sldMkLst>
      </pc:sldChg>
      <pc:sldChg chg="del">
        <pc:chgData name="Thomas Stensitzki" userId="75cafe6b-2f2a-469b-85c4-eec3b9c972ba" providerId="ADAL" clId="{13A7DD84-EBC7-44DF-A4B8-478E332BAF16}" dt="2021-08-05T16:11:45.220" v="63" actId="47"/>
        <pc:sldMkLst>
          <pc:docMk/>
          <pc:sldMk cId="2894310663" sldId="443"/>
        </pc:sldMkLst>
      </pc:sldChg>
      <pc:sldChg chg="del">
        <pc:chgData name="Thomas Stensitzki" userId="75cafe6b-2f2a-469b-85c4-eec3b9c972ba" providerId="ADAL" clId="{13A7DD84-EBC7-44DF-A4B8-478E332BAF16}" dt="2021-08-05T16:11:45.220" v="63" actId="47"/>
        <pc:sldMkLst>
          <pc:docMk/>
          <pc:sldMk cId="625199879" sldId="444"/>
        </pc:sldMkLst>
      </pc:sldChg>
      <pc:sldChg chg="del">
        <pc:chgData name="Thomas Stensitzki" userId="75cafe6b-2f2a-469b-85c4-eec3b9c972ba" providerId="ADAL" clId="{13A7DD84-EBC7-44DF-A4B8-478E332BAF16}" dt="2021-08-05T16:11:45.220" v="63" actId="47"/>
        <pc:sldMkLst>
          <pc:docMk/>
          <pc:sldMk cId="1296016441" sldId="445"/>
        </pc:sldMkLst>
      </pc:sldChg>
      <pc:sldChg chg="del">
        <pc:chgData name="Thomas Stensitzki" userId="75cafe6b-2f2a-469b-85c4-eec3b9c972ba" providerId="ADAL" clId="{13A7DD84-EBC7-44DF-A4B8-478E332BAF16}" dt="2021-08-05T16:11:45.220" v="63" actId="47"/>
        <pc:sldMkLst>
          <pc:docMk/>
          <pc:sldMk cId="2712150207" sldId="446"/>
        </pc:sldMkLst>
      </pc:sldChg>
      <pc:sldChg chg="del">
        <pc:chgData name="Thomas Stensitzki" userId="75cafe6b-2f2a-469b-85c4-eec3b9c972ba" providerId="ADAL" clId="{13A7DD84-EBC7-44DF-A4B8-478E332BAF16}" dt="2021-08-05T16:11:45.220" v="63" actId="47"/>
        <pc:sldMkLst>
          <pc:docMk/>
          <pc:sldMk cId="3622258366" sldId="447"/>
        </pc:sldMkLst>
      </pc:sldChg>
      <pc:sldChg chg="del">
        <pc:chgData name="Thomas Stensitzki" userId="75cafe6b-2f2a-469b-85c4-eec3b9c972ba" providerId="ADAL" clId="{13A7DD84-EBC7-44DF-A4B8-478E332BAF16}" dt="2021-08-05T16:11:45.220" v="63" actId="47"/>
        <pc:sldMkLst>
          <pc:docMk/>
          <pc:sldMk cId="1736350639" sldId="448"/>
        </pc:sldMkLst>
      </pc:sldChg>
      <pc:sldChg chg="del">
        <pc:chgData name="Thomas Stensitzki" userId="75cafe6b-2f2a-469b-85c4-eec3b9c972ba" providerId="ADAL" clId="{13A7DD84-EBC7-44DF-A4B8-478E332BAF16}" dt="2021-08-05T16:11:45.220" v="63" actId="47"/>
        <pc:sldMkLst>
          <pc:docMk/>
          <pc:sldMk cId="2730803217" sldId="449"/>
        </pc:sldMkLst>
      </pc:sldChg>
      <pc:sldChg chg="del">
        <pc:chgData name="Thomas Stensitzki" userId="75cafe6b-2f2a-469b-85c4-eec3b9c972ba" providerId="ADAL" clId="{13A7DD84-EBC7-44DF-A4B8-478E332BAF16}" dt="2021-08-05T16:11:45.220" v="63" actId="47"/>
        <pc:sldMkLst>
          <pc:docMk/>
          <pc:sldMk cId="1458715789" sldId="450"/>
        </pc:sldMkLst>
      </pc:sldChg>
      <pc:sldChg chg="del">
        <pc:chgData name="Thomas Stensitzki" userId="75cafe6b-2f2a-469b-85c4-eec3b9c972ba" providerId="ADAL" clId="{13A7DD84-EBC7-44DF-A4B8-478E332BAF16}" dt="2021-08-05T16:11:45.220" v="63" actId="47"/>
        <pc:sldMkLst>
          <pc:docMk/>
          <pc:sldMk cId="3121195372" sldId="451"/>
        </pc:sldMkLst>
      </pc:sldChg>
      <pc:sldChg chg="del">
        <pc:chgData name="Thomas Stensitzki" userId="75cafe6b-2f2a-469b-85c4-eec3b9c972ba" providerId="ADAL" clId="{13A7DD84-EBC7-44DF-A4B8-478E332BAF16}" dt="2021-08-05T16:11:45.220" v="63" actId="47"/>
        <pc:sldMkLst>
          <pc:docMk/>
          <pc:sldMk cId="2280653341" sldId="452"/>
        </pc:sldMkLst>
      </pc:sldChg>
      <pc:sldChg chg="del">
        <pc:chgData name="Thomas Stensitzki" userId="75cafe6b-2f2a-469b-85c4-eec3b9c972ba" providerId="ADAL" clId="{13A7DD84-EBC7-44DF-A4B8-478E332BAF16}" dt="2021-08-05T16:11:45.220" v="63" actId="47"/>
        <pc:sldMkLst>
          <pc:docMk/>
          <pc:sldMk cId="3153011246" sldId="453"/>
        </pc:sldMkLst>
      </pc:sldChg>
      <pc:sldChg chg="del">
        <pc:chgData name="Thomas Stensitzki" userId="75cafe6b-2f2a-469b-85c4-eec3b9c972ba" providerId="ADAL" clId="{13A7DD84-EBC7-44DF-A4B8-478E332BAF16}" dt="2021-08-05T16:11:45.220" v="63" actId="47"/>
        <pc:sldMkLst>
          <pc:docMk/>
          <pc:sldMk cId="2162326699" sldId="454"/>
        </pc:sldMkLst>
      </pc:sldChg>
      <pc:sldChg chg="del">
        <pc:chgData name="Thomas Stensitzki" userId="75cafe6b-2f2a-469b-85c4-eec3b9c972ba" providerId="ADAL" clId="{13A7DD84-EBC7-44DF-A4B8-478E332BAF16}" dt="2021-08-05T16:18:05.112" v="182" actId="47"/>
        <pc:sldMkLst>
          <pc:docMk/>
          <pc:sldMk cId="348069652" sldId="455"/>
        </pc:sldMkLst>
      </pc:sldChg>
      <pc:sldChg chg="del">
        <pc:chgData name="Thomas Stensitzki" userId="75cafe6b-2f2a-469b-85c4-eec3b9c972ba" providerId="ADAL" clId="{13A7DD84-EBC7-44DF-A4B8-478E332BAF16}" dt="2021-08-05T16:18:05.112" v="182" actId="47"/>
        <pc:sldMkLst>
          <pc:docMk/>
          <pc:sldMk cId="2139259870" sldId="456"/>
        </pc:sldMkLst>
      </pc:sldChg>
      <pc:sldChg chg="del">
        <pc:chgData name="Thomas Stensitzki" userId="75cafe6b-2f2a-469b-85c4-eec3b9c972ba" providerId="ADAL" clId="{13A7DD84-EBC7-44DF-A4B8-478E332BAF16}" dt="2021-08-05T16:11:45.220" v="63" actId="47"/>
        <pc:sldMkLst>
          <pc:docMk/>
          <pc:sldMk cId="1637553502" sldId="458"/>
        </pc:sldMkLst>
      </pc:sldChg>
      <pc:sldChg chg="del">
        <pc:chgData name="Thomas Stensitzki" userId="75cafe6b-2f2a-469b-85c4-eec3b9c972ba" providerId="ADAL" clId="{13A7DD84-EBC7-44DF-A4B8-478E332BAF16}" dt="2021-08-05T16:11:45.220" v="63" actId="47"/>
        <pc:sldMkLst>
          <pc:docMk/>
          <pc:sldMk cId="788649752" sldId="459"/>
        </pc:sldMkLst>
      </pc:sldChg>
      <pc:sldChg chg="del">
        <pc:chgData name="Thomas Stensitzki" userId="75cafe6b-2f2a-469b-85c4-eec3b9c972ba" providerId="ADAL" clId="{13A7DD84-EBC7-44DF-A4B8-478E332BAF16}" dt="2021-08-05T16:11:45.220" v="63" actId="47"/>
        <pc:sldMkLst>
          <pc:docMk/>
          <pc:sldMk cId="1264814093" sldId="460"/>
        </pc:sldMkLst>
      </pc:sldChg>
      <pc:sldChg chg="del">
        <pc:chgData name="Thomas Stensitzki" userId="75cafe6b-2f2a-469b-85c4-eec3b9c972ba" providerId="ADAL" clId="{13A7DD84-EBC7-44DF-A4B8-478E332BAF16}" dt="2021-08-05T16:11:45.220" v="63" actId="47"/>
        <pc:sldMkLst>
          <pc:docMk/>
          <pc:sldMk cId="3877520136" sldId="461"/>
        </pc:sldMkLst>
      </pc:sldChg>
      <pc:sldChg chg="del">
        <pc:chgData name="Thomas Stensitzki" userId="75cafe6b-2f2a-469b-85c4-eec3b9c972ba" providerId="ADAL" clId="{13A7DD84-EBC7-44DF-A4B8-478E332BAF16}" dt="2021-08-05T16:11:45.220" v="63" actId="47"/>
        <pc:sldMkLst>
          <pc:docMk/>
          <pc:sldMk cId="2362987111" sldId="462"/>
        </pc:sldMkLst>
      </pc:sldChg>
      <pc:sldChg chg="del">
        <pc:chgData name="Thomas Stensitzki" userId="75cafe6b-2f2a-469b-85c4-eec3b9c972ba" providerId="ADAL" clId="{13A7DD84-EBC7-44DF-A4B8-478E332BAF16}" dt="2021-08-05T16:11:45.220" v="63" actId="47"/>
        <pc:sldMkLst>
          <pc:docMk/>
          <pc:sldMk cId="22916493" sldId="463"/>
        </pc:sldMkLst>
      </pc:sldChg>
      <pc:sldChg chg="del">
        <pc:chgData name="Thomas Stensitzki" userId="75cafe6b-2f2a-469b-85c4-eec3b9c972ba" providerId="ADAL" clId="{13A7DD84-EBC7-44DF-A4B8-478E332BAF16}" dt="2021-08-05T16:11:45.220" v="63" actId="47"/>
        <pc:sldMkLst>
          <pc:docMk/>
          <pc:sldMk cId="4141395919" sldId="464"/>
        </pc:sldMkLst>
      </pc:sldChg>
      <pc:sldChg chg="del">
        <pc:chgData name="Thomas Stensitzki" userId="75cafe6b-2f2a-469b-85c4-eec3b9c972ba" providerId="ADAL" clId="{13A7DD84-EBC7-44DF-A4B8-478E332BAF16}" dt="2021-08-05T16:11:45.220" v="63" actId="47"/>
        <pc:sldMkLst>
          <pc:docMk/>
          <pc:sldMk cId="2927016727" sldId="465"/>
        </pc:sldMkLst>
      </pc:sldChg>
      <pc:sldChg chg="del">
        <pc:chgData name="Thomas Stensitzki" userId="75cafe6b-2f2a-469b-85c4-eec3b9c972ba" providerId="ADAL" clId="{13A7DD84-EBC7-44DF-A4B8-478E332BAF16}" dt="2021-08-05T16:11:45.220" v="63" actId="47"/>
        <pc:sldMkLst>
          <pc:docMk/>
          <pc:sldMk cId="749460758" sldId="466"/>
        </pc:sldMkLst>
      </pc:sldChg>
      <pc:sldChg chg="del">
        <pc:chgData name="Thomas Stensitzki" userId="75cafe6b-2f2a-469b-85c4-eec3b9c972ba" providerId="ADAL" clId="{13A7DD84-EBC7-44DF-A4B8-478E332BAF16}" dt="2021-08-05T16:11:45.220" v="63" actId="47"/>
        <pc:sldMkLst>
          <pc:docMk/>
          <pc:sldMk cId="2400256164" sldId="467"/>
        </pc:sldMkLst>
      </pc:sldChg>
      <pc:sldChg chg="del">
        <pc:chgData name="Thomas Stensitzki" userId="75cafe6b-2f2a-469b-85c4-eec3b9c972ba" providerId="ADAL" clId="{13A7DD84-EBC7-44DF-A4B8-478E332BAF16}" dt="2021-08-05T16:11:45.220" v="63" actId="47"/>
        <pc:sldMkLst>
          <pc:docMk/>
          <pc:sldMk cId="980357780" sldId="468"/>
        </pc:sldMkLst>
      </pc:sldChg>
      <pc:sldChg chg="del">
        <pc:chgData name="Thomas Stensitzki" userId="75cafe6b-2f2a-469b-85c4-eec3b9c972ba" providerId="ADAL" clId="{13A7DD84-EBC7-44DF-A4B8-478E332BAF16}" dt="2021-08-05T16:11:45.220" v="63" actId="47"/>
        <pc:sldMkLst>
          <pc:docMk/>
          <pc:sldMk cId="1498882424" sldId="469"/>
        </pc:sldMkLst>
      </pc:sldChg>
      <pc:sldChg chg="del">
        <pc:chgData name="Thomas Stensitzki" userId="75cafe6b-2f2a-469b-85c4-eec3b9c972ba" providerId="ADAL" clId="{13A7DD84-EBC7-44DF-A4B8-478E332BAF16}" dt="2021-08-05T16:11:45.220" v="63" actId="47"/>
        <pc:sldMkLst>
          <pc:docMk/>
          <pc:sldMk cId="4225794366" sldId="470"/>
        </pc:sldMkLst>
      </pc:sldChg>
      <pc:sldChg chg="del">
        <pc:chgData name="Thomas Stensitzki" userId="75cafe6b-2f2a-469b-85c4-eec3b9c972ba" providerId="ADAL" clId="{13A7DD84-EBC7-44DF-A4B8-478E332BAF16}" dt="2021-08-05T16:11:45.220" v="63" actId="47"/>
        <pc:sldMkLst>
          <pc:docMk/>
          <pc:sldMk cId="755424041" sldId="471"/>
        </pc:sldMkLst>
      </pc:sldChg>
      <pc:sldChg chg="del">
        <pc:chgData name="Thomas Stensitzki" userId="75cafe6b-2f2a-469b-85c4-eec3b9c972ba" providerId="ADAL" clId="{13A7DD84-EBC7-44DF-A4B8-478E332BAF16}" dt="2021-08-05T16:11:45.220" v="63" actId="47"/>
        <pc:sldMkLst>
          <pc:docMk/>
          <pc:sldMk cId="2377230893" sldId="472"/>
        </pc:sldMkLst>
      </pc:sldChg>
      <pc:sldChg chg="del">
        <pc:chgData name="Thomas Stensitzki" userId="75cafe6b-2f2a-469b-85c4-eec3b9c972ba" providerId="ADAL" clId="{13A7DD84-EBC7-44DF-A4B8-478E332BAF16}" dt="2021-08-05T16:11:45.220" v="63" actId="47"/>
        <pc:sldMkLst>
          <pc:docMk/>
          <pc:sldMk cId="2293811491" sldId="473"/>
        </pc:sldMkLst>
      </pc:sldChg>
      <pc:sldChg chg="del">
        <pc:chgData name="Thomas Stensitzki" userId="75cafe6b-2f2a-469b-85c4-eec3b9c972ba" providerId="ADAL" clId="{13A7DD84-EBC7-44DF-A4B8-478E332BAF16}" dt="2021-08-05T16:11:45.220" v="63" actId="47"/>
        <pc:sldMkLst>
          <pc:docMk/>
          <pc:sldMk cId="3651213508" sldId="474"/>
        </pc:sldMkLst>
      </pc:sldChg>
      <pc:sldChg chg="del">
        <pc:chgData name="Thomas Stensitzki" userId="75cafe6b-2f2a-469b-85c4-eec3b9c972ba" providerId="ADAL" clId="{13A7DD84-EBC7-44DF-A4B8-478E332BAF16}" dt="2021-08-05T16:11:45.220" v="63" actId="47"/>
        <pc:sldMkLst>
          <pc:docMk/>
          <pc:sldMk cId="2954743898" sldId="475"/>
        </pc:sldMkLst>
      </pc:sldChg>
      <pc:sldChg chg="del">
        <pc:chgData name="Thomas Stensitzki" userId="75cafe6b-2f2a-469b-85c4-eec3b9c972ba" providerId="ADAL" clId="{13A7DD84-EBC7-44DF-A4B8-478E332BAF16}" dt="2021-08-05T16:11:45.220" v="63" actId="47"/>
        <pc:sldMkLst>
          <pc:docMk/>
          <pc:sldMk cId="3637848067" sldId="476"/>
        </pc:sldMkLst>
      </pc:sldChg>
      <pc:sldChg chg="del">
        <pc:chgData name="Thomas Stensitzki" userId="75cafe6b-2f2a-469b-85c4-eec3b9c972ba" providerId="ADAL" clId="{13A7DD84-EBC7-44DF-A4B8-478E332BAF16}" dt="2021-08-05T16:11:45.220" v="63" actId="47"/>
        <pc:sldMkLst>
          <pc:docMk/>
          <pc:sldMk cId="1694765860" sldId="477"/>
        </pc:sldMkLst>
      </pc:sldChg>
      <pc:sldChg chg="del">
        <pc:chgData name="Thomas Stensitzki" userId="75cafe6b-2f2a-469b-85c4-eec3b9c972ba" providerId="ADAL" clId="{13A7DD84-EBC7-44DF-A4B8-478E332BAF16}" dt="2021-08-05T16:11:45.220" v="63" actId="47"/>
        <pc:sldMkLst>
          <pc:docMk/>
          <pc:sldMk cId="1953275783" sldId="478"/>
        </pc:sldMkLst>
      </pc:sldChg>
      <pc:sldChg chg="del">
        <pc:chgData name="Thomas Stensitzki" userId="75cafe6b-2f2a-469b-85c4-eec3b9c972ba" providerId="ADAL" clId="{13A7DD84-EBC7-44DF-A4B8-478E332BAF16}" dt="2021-08-05T16:11:45.220" v="63" actId="47"/>
        <pc:sldMkLst>
          <pc:docMk/>
          <pc:sldMk cId="642574017" sldId="479"/>
        </pc:sldMkLst>
      </pc:sldChg>
      <pc:sldChg chg="del">
        <pc:chgData name="Thomas Stensitzki" userId="75cafe6b-2f2a-469b-85c4-eec3b9c972ba" providerId="ADAL" clId="{13A7DD84-EBC7-44DF-A4B8-478E332BAF16}" dt="2021-08-05T16:11:45.220" v="63" actId="47"/>
        <pc:sldMkLst>
          <pc:docMk/>
          <pc:sldMk cId="2167556490" sldId="480"/>
        </pc:sldMkLst>
      </pc:sldChg>
      <pc:sldChg chg="del">
        <pc:chgData name="Thomas Stensitzki" userId="75cafe6b-2f2a-469b-85c4-eec3b9c972ba" providerId="ADAL" clId="{13A7DD84-EBC7-44DF-A4B8-478E332BAF16}" dt="2021-08-05T16:18:05.112" v="182" actId="47"/>
        <pc:sldMkLst>
          <pc:docMk/>
          <pc:sldMk cId="1129715017" sldId="481"/>
        </pc:sldMkLst>
      </pc:sldChg>
      <pc:sldChg chg="del">
        <pc:chgData name="Thomas Stensitzki" userId="75cafe6b-2f2a-469b-85c4-eec3b9c972ba" providerId="ADAL" clId="{13A7DD84-EBC7-44DF-A4B8-478E332BAF16}" dt="2021-08-05T16:18:05.112" v="182" actId="47"/>
        <pc:sldMkLst>
          <pc:docMk/>
          <pc:sldMk cId="447580809" sldId="482"/>
        </pc:sldMkLst>
      </pc:sldChg>
      <pc:sldChg chg="del">
        <pc:chgData name="Thomas Stensitzki" userId="75cafe6b-2f2a-469b-85c4-eec3b9c972ba" providerId="ADAL" clId="{13A7DD84-EBC7-44DF-A4B8-478E332BAF16}" dt="2021-08-05T16:18:05.112" v="182" actId="47"/>
        <pc:sldMkLst>
          <pc:docMk/>
          <pc:sldMk cId="2109578151" sldId="483"/>
        </pc:sldMkLst>
      </pc:sldChg>
      <pc:sldChg chg="del">
        <pc:chgData name="Thomas Stensitzki" userId="75cafe6b-2f2a-469b-85c4-eec3b9c972ba" providerId="ADAL" clId="{13A7DD84-EBC7-44DF-A4B8-478E332BAF16}" dt="2021-08-05T16:18:05.112" v="182" actId="47"/>
        <pc:sldMkLst>
          <pc:docMk/>
          <pc:sldMk cId="3880581928" sldId="484"/>
        </pc:sldMkLst>
      </pc:sldChg>
      <pc:sldChg chg="del">
        <pc:chgData name="Thomas Stensitzki" userId="75cafe6b-2f2a-469b-85c4-eec3b9c972ba" providerId="ADAL" clId="{13A7DD84-EBC7-44DF-A4B8-478E332BAF16}" dt="2021-08-05T16:18:05.112" v="182" actId="47"/>
        <pc:sldMkLst>
          <pc:docMk/>
          <pc:sldMk cId="1578197255" sldId="485"/>
        </pc:sldMkLst>
      </pc:sldChg>
      <pc:sldChg chg="del">
        <pc:chgData name="Thomas Stensitzki" userId="75cafe6b-2f2a-469b-85c4-eec3b9c972ba" providerId="ADAL" clId="{13A7DD84-EBC7-44DF-A4B8-478E332BAF16}" dt="2021-08-05T16:18:05.112" v="182" actId="47"/>
        <pc:sldMkLst>
          <pc:docMk/>
          <pc:sldMk cId="129048746" sldId="486"/>
        </pc:sldMkLst>
      </pc:sldChg>
      <pc:sldChg chg="del">
        <pc:chgData name="Thomas Stensitzki" userId="75cafe6b-2f2a-469b-85c4-eec3b9c972ba" providerId="ADAL" clId="{13A7DD84-EBC7-44DF-A4B8-478E332BAF16}" dt="2021-08-05T16:18:05.112" v="182" actId="47"/>
        <pc:sldMkLst>
          <pc:docMk/>
          <pc:sldMk cId="3805749550" sldId="487"/>
        </pc:sldMkLst>
      </pc:sldChg>
      <pc:sldChg chg="del">
        <pc:chgData name="Thomas Stensitzki" userId="75cafe6b-2f2a-469b-85c4-eec3b9c972ba" providerId="ADAL" clId="{13A7DD84-EBC7-44DF-A4B8-478E332BAF16}" dt="2021-08-05T16:18:05.112" v="182" actId="47"/>
        <pc:sldMkLst>
          <pc:docMk/>
          <pc:sldMk cId="2133647224" sldId="488"/>
        </pc:sldMkLst>
      </pc:sldChg>
      <pc:sldChg chg="del">
        <pc:chgData name="Thomas Stensitzki" userId="75cafe6b-2f2a-469b-85c4-eec3b9c972ba" providerId="ADAL" clId="{13A7DD84-EBC7-44DF-A4B8-478E332BAF16}" dt="2021-08-05T16:18:05.112" v="182" actId="47"/>
        <pc:sldMkLst>
          <pc:docMk/>
          <pc:sldMk cId="3106687663" sldId="489"/>
        </pc:sldMkLst>
      </pc:sldChg>
      <pc:sldChg chg="del">
        <pc:chgData name="Thomas Stensitzki" userId="75cafe6b-2f2a-469b-85c4-eec3b9c972ba" providerId="ADAL" clId="{13A7DD84-EBC7-44DF-A4B8-478E332BAF16}" dt="2021-08-05T16:18:05.112" v="182" actId="47"/>
        <pc:sldMkLst>
          <pc:docMk/>
          <pc:sldMk cId="344419499" sldId="490"/>
        </pc:sldMkLst>
      </pc:sldChg>
      <pc:sldChg chg="del">
        <pc:chgData name="Thomas Stensitzki" userId="75cafe6b-2f2a-469b-85c4-eec3b9c972ba" providerId="ADAL" clId="{13A7DD84-EBC7-44DF-A4B8-478E332BAF16}" dt="2021-08-12T15:31:16.630" v="1636" actId="2696"/>
        <pc:sldMkLst>
          <pc:docMk/>
          <pc:sldMk cId="3946489210" sldId="491"/>
        </pc:sldMkLst>
      </pc:sldChg>
      <pc:sldChg chg="addSp delSp modSp add mod">
        <pc:chgData name="Thomas Stensitzki" userId="75cafe6b-2f2a-469b-85c4-eec3b9c972ba" providerId="ADAL" clId="{13A7DD84-EBC7-44DF-A4B8-478E332BAF16}" dt="2021-08-05T16:59:25.619" v="912" actId="790"/>
        <pc:sldMkLst>
          <pc:docMk/>
          <pc:sldMk cId="403790565" sldId="492"/>
        </pc:sldMkLst>
        <pc:spChg chg="mod">
          <ac:chgData name="Thomas Stensitzki" userId="75cafe6b-2f2a-469b-85c4-eec3b9c972ba" providerId="ADAL" clId="{13A7DD84-EBC7-44DF-A4B8-478E332BAF16}" dt="2021-08-05T16:25:18.653" v="268"/>
          <ac:spMkLst>
            <pc:docMk/>
            <pc:sldMk cId="403790565" sldId="492"/>
            <ac:spMk id="2" creationId="{11E5EEC8-6493-4BA0-8811-4A3F48FE62AF}"/>
          </ac:spMkLst>
        </pc:spChg>
        <pc:spChg chg="add mod">
          <ac:chgData name="Thomas Stensitzki" userId="75cafe6b-2f2a-469b-85c4-eec3b9c972ba" providerId="ADAL" clId="{13A7DD84-EBC7-44DF-A4B8-478E332BAF16}" dt="2021-08-05T16:59:25.619" v="912" actId="790"/>
          <ac:spMkLst>
            <pc:docMk/>
            <pc:sldMk cId="403790565" sldId="492"/>
            <ac:spMk id="3" creationId="{52910FE7-5E69-4FCA-A4D2-6F1A33BA60A4}"/>
          </ac:spMkLst>
        </pc:spChg>
        <pc:picChg chg="del">
          <ac:chgData name="Thomas Stensitzki" userId="75cafe6b-2f2a-469b-85c4-eec3b9c972ba" providerId="ADAL" clId="{13A7DD84-EBC7-44DF-A4B8-478E332BAF16}" dt="2021-08-05T16:25:19.900" v="269" actId="478"/>
          <ac:picMkLst>
            <pc:docMk/>
            <pc:sldMk cId="403790565" sldId="492"/>
            <ac:picMk id="1026" creationId="{043285E5-2210-4AFC-A5D8-BFCD39482712}"/>
          </ac:picMkLst>
        </pc:picChg>
        <pc:picChg chg="add mod">
          <ac:chgData name="Thomas Stensitzki" userId="75cafe6b-2f2a-469b-85c4-eec3b9c972ba" providerId="ADAL" clId="{13A7DD84-EBC7-44DF-A4B8-478E332BAF16}" dt="2021-08-05T16:29:50.192" v="275" actId="1076"/>
          <ac:picMkLst>
            <pc:docMk/>
            <pc:sldMk cId="403790565" sldId="492"/>
            <ac:picMk id="2050" creationId="{23B40704-F350-4227-A4EE-BD692626FE48}"/>
          </ac:picMkLst>
        </pc:picChg>
      </pc:sldChg>
      <pc:sldChg chg="addSp delSp modSp new mod modAnim modNotesTx">
        <pc:chgData name="Thomas Stensitzki" userId="75cafe6b-2f2a-469b-85c4-eec3b9c972ba" providerId="ADAL" clId="{13A7DD84-EBC7-44DF-A4B8-478E332BAF16}" dt="2021-08-12T16:41:54.915" v="1668" actId="6549"/>
        <pc:sldMkLst>
          <pc:docMk/>
          <pc:sldMk cId="2819505311" sldId="493"/>
        </pc:sldMkLst>
        <pc:spChg chg="mod">
          <ac:chgData name="Thomas Stensitzki" userId="75cafe6b-2f2a-469b-85c4-eec3b9c972ba" providerId="ADAL" clId="{13A7DD84-EBC7-44DF-A4B8-478E332BAF16}" dt="2021-08-05T16:46:55.632" v="656" actId="1076"/>
          <ac:spMkLst>
            <pc:docMk/>
            <pc:sldMk cId="2819505311" sldId="493"/>
            <ac:spMk id="2" creationId="{8F9CB091-66F7-473E-B226-0F8B50A800CE}"/>
          </ac:spMkLst>
        </pc:spChg>
        <pc:spChg chg="del">
          <ac:chgData name="Thomas Stensitzki" userId="75cafe6b-2f2a-469b-85c4-eec3b9c972ba" providerId="ADAL" clId="{13A7DD84-EBC7-44DF-A4B8-478E332BAF16}" dt="2021-08-05T16:32:10.324" v="352" actId="478"/>
          <ac:spMkLst>
            <pc:docMk/>
            <pc:sldMk cId="2819505311" sldId="493"/>
            <ac:spMk id="3" creationId="{E5F315F0-F5B1-44D9-B6C0-079FB14FE7D4}"/>
          </ac:spMkLst>
        </pc:spChg>
        <pc:spChg chg="add mod">
          <ac:chgData name="Thomas Stensitzki" userId="75cafe6b-2f2a-469b-85c4-eec3b9c972ba" providerId="ADAL" clId="{13A7DD84-EBC7-44DF-A4B8-478E332BAF16}" dt="2021-08-12T16:41:54.915" v="1668" actId="6549"/>
          <ac:spMkLst>
            <pc:docMk/>
            <pc:sldMk cId="2819505311" sldId="493"/>
            <ac:spMk id="4" creationId="{42606201-5103-4444-A681-579EB68D443C}"/>
          </ac:spMkLst>
        </pc:spChg>
        <pc:picChg chg="add mod">
          <ac:chgData name="Thomas Stensitzki" userId="75cafe6b-2f2a-469b-85c4-eec3b9c972ba" providerId="ADAL" clId="{13A7DD84-EBC7-44DF-A4B8-478E332BAF16}" dt="2021-08-05T16:46:59.405" v="657" actId="1076"/>
          <ac:picMkLst>
            <pc:docMk/>
            <pc:sldMk cId="2819505311" sldId="493"/>
            <ac:picMk id="5122" creationId="{48B9E9CF-EC75-47A3-9400-56151FD8B6E7}"/>
          </ac:picMkLst>
        </pc:picChg>
        <pc:picChg chg="add mod">
          <ac:chgData name="Thomas Stensitzki" userId="75cafe6b-2f2a-469b-85c4-eec3b9c972ba" providerId="ADAL" clId="{13A7DD84-EBC7-44DF-A4B8-478E332BAF16}" dt="2021-08-05T16:47:20.275" v="663" actId="1076"/>
          <ac:picMkLst>
            <pc:docMk/>
            <pc:sldMk cId="2819505311" sldId="493"/>
            <ac:picMk id="5124" creationId="{7234D255-8952-4E9E-8EC1-9EF604151553}"/>
          </ac:picMkLst>
        </pc:picChg>
      </pc:sldChg>
      <pc:sldChg chg="addSp delSp modSp new mod modClrScheme modAnim chgLayout modNotesTx">
        <pc:chgData name="Thomas Stensitzki" userId="75cafe6b-2f2a-469b-85c4-eec3b9c972ba" providerId="ADAL" clId="{13A7DD84-EBC7-44DF-A4B8-478E332BAF16}" dt="2021-08-05T16:42:05.804" v="577"/>
        <pc:sldMkLst>
          <pc:docMk/>
          <pc:sldMk cId="900203790" sldId="494"/>
        </pc:sldMkLst>
        <pc:spChg chg="mod ord">
          <ac:chgData name="Thomas Stensitzki" userId="75cafe6b-2f2a-469b-85c4-eec3b9c972ba" providerId="ADAL" clId="{13A7DD84-EBC7-44DF-A4B8-478E332BAF16}" dt="2021-08-05T16:40:43.153" v="566" actId="700"/>
          <ac:spMkLst>
            <pc:docMk/>
            <pc:sldMk cId="900203790" sldId="494"/>
            <ac:spMk id="2" creationId="{56BF7A1E-D40C-4898-A8CB-ADA4F3BA657B}"/>
          </ac:spMkLst>
        </pc:spChg>
        <pc:spChg chg="del">
          <ac:chgData name="Thomas Stensitzki" userId="75cafe6b-2f2a-469b-85c4-eec3b9c972ba" providerId="ADAL" clId="{13A7DD84-EBC7-44DF-A4B8-478E332BAF16}" dt="2021-08-05T16:40:43.153" v="566" actId="700"/>
          <ac:spMkLst>
            <pc:docMk/>
            <pc:sldMk cId="900203790" sldId="494"/>
            <ac:spMk id="3" creationId="{F5C857EC-2563-4D35-B02F-52521105D61F}"/>
          </ac:spMkLst>
        </pc:spChg>
        <pc:picChg chg="add mod">
          <ac:chgData name="Thomas Stensitzki" userId="75cafe6b-2f2a-469b-85c4-eec3b9c972ba" providerId="ADAL" clId="{13A7DD84-EBC7-44DF-A4B8-478E332BAF16}" dt="2021-08-05T16:41:09.158" v="571" actId="14100"/>
          <ac:picMkLst>
            <pc:docMk/>
            <pc:sldMk cId="900203790" sldId="494"/>
            <ac:picMk id="3074" creationId="{9F24576B-4732-4D78-BD2F-59B8EEC14336}"/>
          </ac:picMkLst>
        </pc:picChg>
        <pc:picChg chg="add mod">
          <ac:chgData name="Thomas Stensitzki" userId="75cafe6b-2f2a-469b-85c4-eec3b9c972ba" providerId="ADAL" clId="{13A7DD84-EBC7-44DF-A4B8-478E332BAF16}" dt="2021-08-05T16:41:28.820" v="575" actId="14100"/>
          <ac:picMkLst>
            <pc:docMk/>
            <pc:sldMk cId="900203790" sldId="494"/>
            <ac:picMk id="3076" creationId="{905BD15B-7BD4-4DBE-A18F-04FB2D44551F}"/>
          </ac:picMkLst>
        </pc:picChg>
      </pc:sldChg>
      <pc:sldChg chg="addSp modSp new mod modAnim">
        <pc:chgData name="Thomas Stensitzki" userId="75cafe6b-2f2a-469b-85c4-eec3b9c972ba" providerId="ADAL" clId="{13A7DD84-EBC7-44DF-A4B8-478E332BAF16}" dt="2021-08-05T16:45:06.300" v="632"/>
        <pc:sldMkLst>
          <pc:docMk/>
          <pc:sldMk cId="2871162903" sldId="495"/>
        </pc:sldMkLst>
        <pc:spChg chg="mod">
          <ac:chgData name="Thomas Stensitzki" userId="75cafe6b-2f2a-469b-85c4-eec3b9c972ba" providerId="ADAL" clId="{13A7DD84-EBC7-44DF-A4B8-478E332BAF16}" dt="2021-08-05T16:42:57.926" v="601"/>
          <ac:spMkLst>
            <pc:docMk/>
            <pc:sldMk cId="2871162903" sldId="495"/>
            <ac:spMk id="2" creationId="{15C4489B-6A08-49A2-8CCF-F8592E44419F}"/>
          </ac:spMkLst>
        </pc:spChg>
        <pc:spChg chg="add mod">
          <ac:chgData name="Thomas Stensitzki" userId="75cafe6b-2f2a-469b-85c4-eec3b9c972ba" providerId="ADAL" clId="{13A7DD84-EBC7-44DF-A4B8-478E332BAF16}" dt="2021-08-05T16:44:40.118" v="618" actId="1076"/>
          <ac:spMkLst>
            <pc:docMk/>
            <pc:sldMk cId="2871162903" sldId="495"/>
            <ac:spMk id="6" creationId="{A011C0D1-A81B-4EC0-BFE3-117919143D5F}"/>
          </ac:spMkLst>
        </pc:spChg>
        <pc:picChg chg="add mod">
          <ac:chgData name="Thomas Stensitzki" userId="75cafe6b-2f2a-469b-85c4-eec3b9c972ba" providerId="ADAL" clId="{13A7DD84-EBC7-44DF-A4B8-478E332BAF16}" dt="2021-08-05T16:43:28.400" v="605" actId="1582"/>
          <ac:picMkLst>
            <pc:docMk/>
            <pc:sldMk cId="2871162903" sldId="495"/>
            <ac:picMk id="3" creationId="{BA854DDC-5027-4D56-B9FC-F22CFF2DA0E4}"/>
          </ac:picMkLst>
        </pc:picChg>
        <pc:picChg chg="add mod">
          <ac:chgData name="Thomas Stensitzki" userId="75cafe6b-2f2a-469b-85c4-eec3b9c972ba" providerId="ADAL" clId="{13A7DD84-EBC7-44DF-A4B8-478E332BAF16}" dt="2021-08-05T16:44:15.602" v="613" actId="1076"/>
          <ac:picMkLst>
            <pc:docMk/>
            <pc:sldMk cId="2871162903" sldId="495"/>
            <ac:picMk id="4098" creationId="{55B18317-2B4E-4C63-89B8-0ED48B2B1AA1}"/>
          </ac:picMkLst>
        </pc:picChg>
        <pc:picChg chg="add mod">
          <ac:chgData name="Thomas Stensitzki" userId="75cafe6b-2f2a-469b-85c4-eec3b9c972ba" providerId="ADAL" clId="{13A7DD84-EBC7-44DF-A4B8-478E332BAF16}" dt="2021-08-05T16:44:26.633" v="616" actId="1076"/>
          <ac:picMkLst>
            <pc:docMk/>
            <pc:sldMk cId="2871162903" sldId="495"/>
            <ac:picMk id="4100" creationId="{9AF05ECE-8E7A-4AC0-A561-A769FD378C58}"/>
          </ac:picMkLst>
        </pc:picChg>
      </pc:sldChg>
      <pc:sldChg chg="addSp modSp new mod">
        <pc:chgData name="Thomas Stensitzki" userId="75cafe6b-2f2a-469b-85c4-eec3b9c972ba" providerId="ADAL" clId="{13A7DD84-EBC7-44DF-A4B8-478E332BAF16}" dt="2021-08-05T16:59:11.539" v="911" actId="790"/>
        <pc:sldMkLst>
          <pc:docMk/>
          <pc:sldMk cId="503783842" sldId="496"/>
        </pc:sldMkLst>
        <pc:spChg chg="mod">
          <ac:chgData name="Thomas Stensitzki" userId="75cafe6b-2f2a-469b-85c4-eec3b9c972ba" providerId="ADAL" clId="{13A7DD84-EBC7-44DF-A4B8-478E332BAF16}" dt="2021-08-05T16:56:28.552" v="886"/>
          <ac:spMkLst>
            <pc:docMk/>
            <pc:sldMk cId="503783842" sldId="496"/>
            <ac:spMk id="2" creationId="{B7F35375-0E29-4118-B455-EB8E2CA1CC5A}"/>
          </ac:spMkLst>
        </pc:spChg>
        <pc:spChg chg="add mod">
          <ac:chgData name="Thomas Stensitzki" userId="75cafe6b-2f2a-469b-85c4-eec3b9c972ba" providerId="ADAL" clId="{13A7DD84-EBC7-44DF-A4B8-478E332BAF16}" dt="2021-08-05T16:59:11.539" v="911" actId="790"/>
          <ac:spMkLst>
            <pc:docMk/>
            <pc:sldMk cId="503783842" sldId="496"/>
            <ac:spMk id="4" creationId="{FB7B6BF2-BF6B-4413-8036-CE968BC9F52A}"/>
          </ac:spMkLst>
        </pc:spChg>
        <pc:picChg chg="add mod modCrop">
          <ac:chgData name="Thomas Stensitzki" userId="75cafe6b-2f2a-469b-85c4-eec3b9c972ba" providerId="ADAL" clId="{13A7DD84-EBC7-44DF-A4B8-478E332BAF16}" dt="2021-08-05T16:57:26.373" v="894" actId="732"/>
          <ac:picMkLst>
            <pc:docMk/>
            <pc:sldMk cId="503783842" sldId="496"/>
            <ac:picMk id="3" creationId="{99397DF0-DADB-4409-B39C-78F6B6EEB051}"/>
          </ac:picMkLst>
        </pc:picChg>
      </pc:sldChg>
      <pc:sldChg chg="addSp delSp modSp new mod modClrScheme modAnim chgLayout">
        <pc:chgData name="Thomas Stensitzki" userId="75cafe6b-2f2a-469b-85c4-eec3b9c972ba" providerId="ADAL" clId="{13A7DD84-EBC7-44DF-A4B8-478E332BAF16}" dt="2021-08-05T17:05:08.071" v="988"/>
        <pc:sldMkLst>
          <pc:docMk/>
          <pc:sldMk cId="1558837248" sldId="497"/>
        </pc:sldMkLst>
        <pc:spChg chg="del mod ord">
          <ac:chgData name="Thomas Stensitzki" userId="75cafe6b-2f2a-469b-85c4-eec3b9c972ba" providerId="ADAL" clId="{13A7DD84-EBC7-44DF-A4B8-478E332BAF16}" dt="2021-08-05T17:02:44.111" v="966" actId="700"/>
          <ac:spMkLst>
            <pc:docMk/>
            <pc:sldMk cId="1558837248" sldId="497"/>
            <ac:spMk id="2" creationId="{69C51ED4-3940-4F14-8B0D-AA4601891FB8}"/>
          </ac:spMkLst>
        </pc:spChg>
        <pc:spChg chg="del">
          <ac:chgData name="Thomas Stensitzki" userId="75cafe6b-2f2a-469b-85c4-eec3b9c972ba" providerId="ADAL" clId="{13A7DD84-EBC7-44DF-A4B8-478E332BAF16}" dt="2021-08-05T17:02:44.111" v="966" actId="700"/>
          <ac:spMkLst>
            <pc:docMk/>
            <pc:sldMk cId="1558837248" sldId="497"/>
            <ac:spMk id="3" creationId="{FB1E46B9-CD68-45B3-8D97-0E2AB0527B7E}"/>
          </ac:spMkLst>
        </pc:spChg>
        <pc:spChg chg="add mod ord">
          <ac:chgData name="Thomas Stensitzki" userId="75cafe6b-2f2a-469b-85c4-eec3b9c972ba" providerId="ADAL" clId="{13A7DD84-EBC7-44DF-A4B8-478E332BAF16}" dt="2021-08-05T17:03:03.097" v="970" actId="14100"/>
          <ac:spMkLst>
            <pc:docMk/>
            <pc:sldMk cId="1558837248" sldId="497"/>
            <ac:spMk id="4" creationId="{89E5E786-9479-4281-A319-525DF43CE462}"/>
          </ac:spMkLst>
        </pc:spChg>
        <pc:picChg chg="add mod">
          <ac:chgData name="Thomas Stensitzki" userId="75cafe6b-2f2a-469b-85c4-eec3b9c972ba" providerId="ADAL" clId="{13A7DD84-EBC7-44DF-A4B8-478E332BAF16}" dt="2021-08-05T17:03:33.862" v="976" actId="1076"/>
          <ac:picMkLst>
            <pc:docMk/>
            <pc:sldMk cId="1558837248" sldId="497"/>
            <ac:picMk id="6146" creationId="{9A16EA35-B6EC-41E2-9608-1AA88EBC50F4}"/>
          </ac:picMkLst>
        </pc:picChg>
        <pc:picChg chg="add mod">
          <ac:chgData name="Thomas Stensitzki" userId="75cafe6b-2f2a-469b-85c4-eec3b9c972ba" providerId="ADAL" clId="{13A7DD84-EBC7-44DF-A4B8-478E332BAF16}" dt="2021-08-05T17:03:43.313" v="978" actId="1582"/>
          <ac:picMkLst>
            <pc:docMk/>
            <pc:sldMk cId="1558837248" sldId="497"/>
            <ac:picMk id="6148" creationId="{CC357F81-EE87-468F-96BF-BBE453B5A62E}"/>
          </ac:picMkLst>
        </pc:picChg>
        <pc:picChg chg="add mod">
          <ac:chgData name="Thomas Stensitzki" userId="75cafe6b-2f2a-469b-85c4-eec3b9c972ba" providerId="ADAL" clId="{13A7DD84-EBC7-44DF-A4B8-478E332BAF16}" dt="2021-08-05T17:04:44.398" v="986" actId="1076"/>
          <ac:picMkLst>
            <pc:docMk/>
            <pc:sldMk cId="1558837248" sldId="497"/>
            <ac:picMk id="6150" creationId="{995EC3C0-E0B3-4717-BB9A-A538D12F17B4}"/>
          </ac:picMkLst>
        </pc:picChg>
      </pc:sldChg>
      <pc:sldChg chg="modSp add mod ord">
        <pc:chgData name="Thomas Stensitzki" userId="75cafe6b-2f2a-469b-85c4-eec3b9c972ba" providerId="ADAL" clId="{13A7DD84-EBC7-44DF-A4B8-478E332BAF16}" dt="2021-08-10T16:57:13.622" v="1508" actId="14100"/>
        <pc:sldMkLst>
          <pc:docMk/>
          <pc:sldMk cId="4139680906" sldId="498"/>
        </pc:sldMkLst>
        <pc:spChg chg="mod">
          <ac:chgData name="Thomas Stensitzki" userId="75cafe6b-2f2a-469b-85c4-eec3b9c972ba" providerId="ADAL" clId="{13A7DD84-EBC7-44DF-A4B8-478E332BAF16}" dt="2021-08-10T16:57:13.622" v="1508" actId="14100"/>
          <ac:spMkLst>
            <pc:docMk/>
            <pc:sldMk cId="4139680906" sldId="498"/>
            <ac:spMk id="2" creationId="{909DC09D-B9A6-4493-9A72-1CA7ECB1F5CA}"/>
          </ac:spMkLst>
        </pc:spChg>
        <pc:spChg chg="mod">
          <ac:chgData name="Thomas Stensitzki" userId="75cafe6b-2f2a-469b-85c4-eec3b9c972ba" providerId="ADAL" clId="{13A7DD84-EBC7-44DF-A4B8-478E332BAF16}" dt="2021-08-10T16:57:05.903" v="1507" actId="20577"/>
          <ac:spMkLst>
            <pc:docMk/>
            <pc:sldMk cId="4139680906" sldId="498"/>
            <ac:spMk id="5" creationId="{C24DACB5-1BEC-4C86-9652-BAFD8DE56FEF}"/>
          </ac:spMkLst>
        </pc:spChg>
      </pc:sldChg>
      <pc:sldChg chg="addSp delSp modSp new mod modAnim modNotesTx">
        <pc:chgData name="Thomas Stensitzki" userId="75cafe6b-2f2a-469b-85c4-eec3b9c972ba" providerId="ADAL" clId="{13A7DD84-EBC7-44DF-A4B8-478E332BAF16}" dt="2021-08-10T16:54:10.286" v="1332"/>
        <pc:sldMkLst>
          <pc:docMk/>
          <pc:sldMk cId="1091876782" sldId="499"/>
        </pc:sldMkLst>
        <pc:spChg chg="mod">
          <ac:chgData name="Thomas Stensitzki" userId="75cafe6b-2f2a-469b-85c4-eec3b9c972ba" providerId="ADAL" clId="{13A7DD84-EBC7-44DF-A4B8-478E332BAF16}" dt="2021-08-05T17:18:42.160" v="1084"/>
          <ac:spMkLst>
            <pc:docMk/>
            <pc:sldMk cId="1091876782" sldId="499"/>
            <ac:spMk id="2" creationId="{D33506D9-1D44-4E8B-9B82-65AFBD9BDE53}"/>
          </ac:spMkLst>
        </pc:spChg>
        <pc:picChg chg="add mod">
          <ac:chgData name="Thomas Stensitzki" userId="75cafe6b-2f2a-469b-85c4-eec3b9c972ba" providerId="ADAL" clId="{13A7DD84-EBC7-44DF-A4B8-478E332BAF16}" dt="2021-08-05T17:22:21.389" v="1147" actId="1440"/>
          <ac:picMkLst>
            <pc:docMk/>
            <pc:sldMk cId="1091876782" sldId="499"/>
            <ac:picMk id="3" creationId="{EE4A2AB9-39AD-49DF-A297-C13FE0D693CD}"/>
          </ac:picMkLst>
        </pc:picChg>
        <pc:picChg chg="add mod">
          <ac:chgData name="Thomas Stensitzki" userId="75cafe6b-2f2a-469b-85c4-eec3b9c972ba" providerId="ADAL" clId="{13A7DD84-EBC7-44DF-A4B8-478E332BAF16}" dt="2021-08-05T17:22:25.461" v="1148" actId="1440"/>
          <ac:picMkLst>
            <pc:docMk/>
            <pc:sldMk cId="1091876782" sldId="499"/>
            <ac:picMk id="5" creationId="{D4104401-2A14-415F-9B7B-602DA7B40BAE}"/>
          </ac:picMkLst>
        </pc:picChg>
        <pc:picChg chg="add del mod">
          <ac:chgData name="Thomas Stensitzki" userId="75cafe6b-2f2a-469b-85c4-eec3b9c972ba" providerId="ADAL" clId="{13A7DD84-EBC7-44DF-A4B8-478E332BAF16}" dt="2021-08-05T17:19:49.825" v="1092" actId="478"/>
          <ac:picMkLst>
            <pc:docMk/>
            <pc:sldMk cId="1091876782" sldId="499"/>
            <ac:picMk id="8194" creationId="{67D65A69-A83B-43A4-BE74-BD7EC1B02204}"/>
          </ac:picMkLst>
        </pc:picChg>
        <pc:picChg chg="add mod">
          <ac:chgData name="Thomas Stensitzki" userId="75cafe6b-2f2a-469b-85c4-eec3b9c972ba" providerId="ADAL" clId="{13A7DD84-EBC7-44DF-A4B8-478E332BAF16}" dt="2021-08-05T17:22:14.998" v="1146" actId="1440"/>
          <ac:picMkLst>
            <pc:docMk/>
            <pc:sldMk cId="1091876782" sldId="499"/>
            <ac:picMk id="8196" creationId="{D6510E23-D3DC-46EF-806A-43289CE1280D}"/>
          </ac:picMkLst>
        </pc:picChg>
      </pc:sldChg>
      <pc:sldChg chg="addSp modSp new mod modNotesTx">
        <pc:chgData name="Thomas Stensitzki" userId="75cafe6b-2f2a-469b-85c4-eec3b9c972ba" providerId="ADAL" clId="{13A7DD84-EBC7-44DF-A4B8-478E332BAF16}" dt="2021-08-05T17:24:57.099" v="1178"/>
        <pc:sldMkLst>
          <pc:docMk/>
          <pc:sldMk cId="3233405587" sldId="500"/>
        </pc:sldMkLst>
        <pc:spChg chg="mod">
          <ac:chgData name="Thomas Stensitzki" userId="75cafe6b-2f2a-469b-85c4-eec3b9c972ba" providerId="ADAL" clId="{13A7DD84-EBC7-44DF-A4B8-478E332BAF16}" dt="2021-08-05T17:24:04.114" v="1170" actId="1076"/>
          <ac:spMkLst>
            <pc:docMk/>
            <pc:sldMk cId="3233405587" sldId="500"/>
            <ac:spMk id="2" creationId="{DA4C3CC7-19B9-4B6A-80D5-2768276B32DF}"/>
          </ac:spMkLst>
        </pc:spChg>
        <pc:picChg chg="add mod">
          <ac:chgData name="Thomas Stensitzki" userId="75cafe6b-2f2a-469b-85c4-eec3b9c972ba" providerId="ADAL" clId="{13A7DD84-EBC7-44DF-A4B8-478E332BAF16}" dt="2021-08-05T17:24:15.381" v="1173" actId="1440"/>
          <ac:picMkLst>
            <pc:docMk/>
            <pc:sldMk cId="3233405587" sldId="500"/>
            <ac:picMk id="10242" creationId="{A09CCC85-CE71-4434-B3D8-BB730F4BC6D3}"/>
          </ac:picMkLst>
        </pc:picChg>
      </pc:sldChg>
      <pc:sldChg chg="addSp delSp modSp add del mod">
        <pc:chgData name="Thomas Stensitzki" userId="75cafe6b-2f2a-469b-85c4-eec3b9c972ba" providerId="ADAL" clId="{13A7DD84-EBC7-44DF-A4B8-478E332BAF16}" dt="2021-08-05T17:22:31.063" v="1149" actId="47"/>
        <pc:sldMkLst>
          <pc:docMk/>
          <pc:sldMk cId="3953422346" sldId="500"/>
        </pc:sldMkLst>
        <pc:picChg chg="del">
          <ac:chgData name="Thomas Stensitzki" userId="75cafe6b-2f2a-469b-85c4-eec3b9c972ba" providerId="ADAL" clId="{13A7DD84-EBC7-44DF-A4B8-478E332BAF16}" dt="2021-08-05T17:20:03.055" v="1094" actId="478"/>
          <ac:picMkLst>
            <pc:docMk/>
            <pc:sldMk cId="3953422346" sldId="500"/>
            <ac:picMk id="3" creationId="{EE4A2AB9-39AD-49DF-A297-C13FE0D693CD}"/>
          </ac:picMkLst>
        </pc:picChg>
        <pc:picChg chg="add mod">
          <ac:chgData name="Thomas Stensitzki" userId="75cafe6b-2f2a-469b-85c4-eec3b9c972ba" providerId="ADAL" clId="{13A7DD84-EBC7-44DF-A4B8-478E332BAF16}" dt="2021-08-05T17:20:09.279" v="1097" actId="1076"/>
          <ac:picMkLst>
            <pc:docMk/>
            <pc:sldMk cId="3953422346" sldId="500"/>
            <ac:picMk id="9218" creationId="{B71FA1C6-0A05-4403-8027-4AABA67B905B}"/>
          </ac:picMkLst>
        </pc:picChg>
      </pc:sldChg>
      <pc:sldChg chg="modSp add mod ord">
        <pc:chgData name="Thomas Stensitzki" userId="75cafe6b-2f2a-469b-85c4-eec3b9c972ba" providerId="ADAL" clId="{13A7DD84-EBC7-44DF-A4B8-478E332BAF16}" dt="2021-08-10T16:52:35.276" v="1212" actId="1035"/>
        <pc:sldMkLst>
          <pc:docMk/>
          <pc:sldMk cId="1828632953" sldId="501"/>
        </pc:sldMkLst>
        <pc:spChg chg="mod">
          <ac:chgData name="Thomas Stensitzki" userId="75cafe6b-2f2a-469b-85c4-eec3b9c972ba" providerId="ADAL" clId="{13A7DD84-EBC7-44DF-A4B8-478E332BAF16}" dt="2021-08-10T16:52:35.276" v="1212" actId="1035"/>
          <ac:spMkLst>
            <pc:docMk/>
            <pc:sldMk cId="1828632953" sldId="501"/>
            <ac:spMk id="2" creationId="{909DC09D-B9A6-4493-9A72-1CA7ECB1F5CA}"/>
          </ac:spMkLst>
        </pc:spChg>
      </pc:sldChg>
      <pc:sldChg chg="modSp add mod">
        <pc:chgData name="Thomas Stensitzki" userId="75cafe6b-2f2a-469b-85c4-eec3b9c972ba" providerId="ADAL" clId="{13A7DD84-EBC7-44DF-A4B8-478E332BAF16}" dt="2021-08-10T16:52:53.743" v="1245" actId="14100"/>
        <pc:sldMkLst>
          <pc:docMk/>
          <pc:sldMk cId="705434850" sldId="502"/>
        </pc:sldMkLst>
        <pc:spChg chg="mod">
          <ac:chgData name="Thomas Stensitzki" userId="75cafe6b-2f2a-469b-85c4-eec3b9c972ba" providerId="ADAL" clId="{13A7DD84-EBC7-44DF-A4B8-478E332BAF16}" dt="2021-08-10T16:52:53.743" v="1245" actId="14100"/>
          <ac:spMkLst>
            <pc:docMk/>
            <pc:sldMk cId="705434850" sldId="502"/>
            <ac:spMk id="2" creationId="{909DC09D-B9A6-4493-9A72-1CA7ECB1F5CA}"/>
          </ac:spMkLst>
        </pc:spChg>
      </pc:sldChg>
      <pc:sldChg chg="modSp add mod ord">
        <pc:chgData name="Thomas Stensitzki" userId="75cafe6b-2f2a-469b-85c4-eec3b9c972ba" providerId="ADAL" clId="{13A7DD84-EBC7-44DF-A4B8-478E332BAF16}" dt="2021-08-10T16:53:11.242" v="1273" actId="14100"/>
        <pc:sldMkLst>
          <pc:docMk/>
          <pc:sldMk cId="2116552428" sldId="503"/>
        </pc:sldMkLst>
        <pc:spChg chg="mod">
          <ac:chgData name="Thomas Stensitzki" userId="75cafe6b-2f2a-469b-85c4-eec3b9c972ba" providerId="ADAL" clId="{13A7DD84-EBC7-44DF-A4B8-478E332BAF16}" dt="2021-08-10T16:53:11.242" v="1273" actId="14100"/>
          <ac:spMkLst>
            <pc:docMk/>
            <pc:sldMk cId="2116552428" sldId="503"/>
            <ac:spMk id="2" creationId="{909DC09D-B9A6-4493-9A72-1CA7ECB1F5CA}"/>
          </ac:spMkLst>
        </pc:spChg>
      </pc:sldChg>
      <pc:sldChg chg="modSp add mod ord">
        <pc:chgData name="Thomas Stensitzki" userId="75cafe6b-2f2a-469b-85c4-eec3b9c972ba" providerId="ADAL" clId="{13A7DD84-EBC7-44DF-A4B8-478E332BAF16}" dt="2021-08-10T16:53:21.263" v="1291" actId="1036"/>
        <pc:sldMkLst>
          <pc:docMk/>
          <pc:sldMk cId="2167590192" sldId="504"/>
        </pc:sldMkLst>
        <pc:spChg chg="mod">
          <ac:chgData name="Thomas Stensitzki" userId="75cafe6b-2f2a-469b-85c4-eec3b9c972ba" providerId="ADAL" clId="{13A7DD84-EBC7-44DF-A4B8-478E332BAF16}" dt="2021-08-10T16:53:21.263" v="1291" actId="1036"/>
          <ac:spMkLst>
            <pc:docMk/>
            <pc:sldMk cId="2167590192" sldId="504"/>
            <ac:spMk id="2" creationId="{909DC09D-B9A6-4493-9A72-1CA7ECB1F5CA}"/>
          </ac:spMkLst>
        </pc:spChg>
      </pc:sldChg>
      <pc:sldChg chg="modSp add mod ord">
        <pc:chgData name="Thomas Stensitzki" userId="75cafe6b-2f2a-469b-85c4-eec3b9c972ba" providerId="ADAL" clId="{13A7DD84-EBC7-44DF-A4B8-478E332BAF16}" dt="2021-08-10T16:53:40.039" v="1328" actId="14100"/>
        <pc:sldMkLst>
          <pc:docMk/>
          <pc:sldMk cId="2730644169" sldId="505"/>
        </pc:sldMkLst>
        <pc:spChg chg="mod">
          <ac:chgData name="Thomas Stensitzki" userId="75cafe6b-2f2a-469b-85c4-eec3b9c972ba" providerId="ADAL" clId="{13A7DD84-EBC7-44DF-A4B8-478E332BAF16}" dt="2021-08-10T16:53:40.039" v="1328" actId="14100"/>
          <ac:spMkLst>
            <pc:docMk/>
            <pc:sldMk cId="2730644169" sldId="505"/>
            <ac:spMk id="2" creationId="{909DC09D-B9A6-4493-9A72-1CA7ECB1F5CA}"/>
          </ac:spMkLst>
        </pc:spChg>
      </pc:sldChg>
      <pc:sldChg chg="modSp add mod ord">
        <pc:chgData name="Thomas Stensitzki" userId="75cafe6b-2f2a-469b-85c4-eec3b9c972ba" providerId="ADAL" clId="{13A7DD84-EBC7-44DF-A4B8-478E332BAF16}" dt="2021-08-10T16:56:27.659" v="1473" actId="20577"/>
        <pc:sldMkLst>
          <pc:docMk/>
          <pc:sldMk cId="1492262341" sldId="506"/>
        </pc:sldMkLst>
        <pc:spChg chg="mod">
          <ac:chgData name="Thomas Stensitzki" userId="75cafe6b-2f2a-469b-85c4-eec3b9c972ba" providerId="ADAL" clId="{13A7DD84-EBC7-44DF-A4B8-478E332BAF16}" dt="2021-08-10T16:55:06.419" v="1379" actId="14100"/>
          <ac:spMkLst>
            <pc:docMk/>
            <pc:sldMk cId="1492262341" sldId="506"/>
            <ac:spMk id="2" creationId="{909DC09D-B9A6-4493-9A72-1CA7ECB1F5CA}"/>
          </ac:spMkLst>
        </pc:spChg>
        <pc:spChg chg="mod">
          <ac:chgData name="Thomas Stensitzki" userId="75cafe6b-2f2a-469b-85c4-eec3b9c972ba" providerId="ADAL" clId="{13A7DD84-EBC7-44DF-A4B8-478E332BAF16}" dt="2021-08-10T16:56:27.659" v="1473" actId="20577"/>
          <ac:spMkLst>
            <pc:docMk/>
            <pc:sldMk cId="1492262341" sldId="506"/>
            <ac:spMk id="5" creationId="{C24DACB5-1BEC-4C86-9652-BAFD8DE56FEF}"/>
          </ac:spMkLst>
        </pc:spChg>
      </pc:sldChg>
      <pc:sldChg chg="modSp add mod">
        <pc:chgData name="Thomas Stensitzki" userId="75cafe6b-2f2a-469b-85c4-eec3b9c972ba" providerId="ADAL" clId="{13A7DD84-EBC7-44DF-A4B8-478E332BAF16}" dt="2021-08-10T16:56:24.464" v="1472" actId="20577"/>
        <pc:sldMkLst>
          <pc:docMk/>
          <pc:sldMk cId="2246989815" sldId="507"/>
        </pc:sldMkLst>
        <pc:spChg chg="mod">
          <ac:chgData name="Thomas Stensitzki" userId="75cafe6b-2f2a-469b-85c4-eec3b9c972ba" providerId="ADAL" clId="{13A7DD84-EBC7-44DF-A4B8-478E332BAF16}" dt="2021-08-10T16:55:22.616" v="1387" actId="1035"/>
          <ac:spMkLst>
            <pc:docMk/>
            <pc:sldMk cId="2246989815" sldId="507"/>
            <ac:spMk id="2" creationId="{909DC09D-B9A6-4493-9A72-1CA7ECB1F5CA}"/>
          </ac:spMkLst>
        </pc:spChg>
        <pc:spChg chg="mod">
          <ac:chgData name="Thomas Stensitzki" userId="75cafe6b-2f2a-469b-85c4-eec3b9c972ba" providerId="ADAL" clId="{13A7DD84-EBC7-44DF-A4B8-478E332BAF16}" dt="2021-08-10T16:56:24.464" v="1472" actId="20577"/>
          <ac:spMkLst>
            <pc:docMk/>
            <pc:sldMk cId="2246989815" sldId="507"/>
            <ac:spMk id="5" creationId="{C24DACB5-1BEC-4C86-9652-BAFD8DE56FEF}"/>
          </ac:spMkLst>
        </pc:spChg>
      </pc:sldChg>
      <pc:sldChg chg="modSp add mod">
        <pc:chgData name="Thomas Stensitzki" userId="75cafe6b-2f2a-469b-85c4-eec3b9c972ba" providerId="ADAL" clId="{13A7DD84-EBC7-44DF-A4B8-478E332BAF16}" dt="2021-08-10T16:56:19.865" v="1471" actId="20577"/>
        <pc:sldMkLst>
          <pc:docMk/>
          <pc:sldMk cId="389331669" sldId="508"/>
        </pc:sldMkLst>
        <pc:spChg chg="mod">
          <ac:chgData name="Thomas Stensitzki" userId="75cafe6b-2f2a-469b-85c4-eec3b9c972ba" providerId="ADAL" clId="{13A7DD84-EBC7-44DF-A4B8-478E332BAF16}" dt="2021-08-10T16:55:35.133" v="1417" actId="1036"/>
          <ac:spMkLst>
            <pc:docMk/>
            <pc:sldMk cId="389331669" sldId="508"/>
            <ac:spMk id="2" creationId="{909DC09D-B9A6-4493-9A72-1CA7ECB1F5CA}"/>
          </ac:spMkLst>
        </pc:spChg>
        <pc:spChg chg="mod">
          <ac:chgData name="Thomas Stensitzki" userId="75cafe6b-2f2a-469b-85c4-eec3b9c972ba" providerId="ADAL" clId="{13A7DD84-EBC7-44DF-A4B8-478E332BAF16}" dt="2021-08-10T16:56:19.865" v="1471" actId="20577"/>
          <ac:spMkLst>
            <pc:docMk/>
            <pc:sldMk cId="389331669" sldId="508"/>
            <ac:spMk id="5" creationId="{C24DACB5-1BEC-4C86-9652-BAFD8DE56FEF}"/>
          </ac:spMkLst>
        </pc:spChg>
      </pc:sldChg>
      <pc:sldChg chg="modSp add mod ord">
        <pc:chgData name="Thomas Stensitzki" userId="75cafe6b-2f2a-469b-85c4-eec3b9c972ba" providerId="ADAL" clId="{13A7DD84-EBC7-44DF-A4B8-478E332BAF16}" dt="2021-08-10T16:56:16.455" v="1470" actId="20577"/>
        <pc:sldMkLst>
          <pc:docMk/>
          <pc:sldMk cId="3227978394" sldId="509"/>
        </pc:sldMkLst>
        <pc:spChg chg="mod">
          <ac:chgData name="Thomas Stensitzki" userId="75cafe6b-2f2a-469b-85c4-eec3b9c972ba" providerId="ADAL" clId="{13A7DD84-EBC7-44DF-A4B8-478E332BAF16}" dt="2021-08-10T16:55:54.443" v="1442" actId="1036"/>
          <ac:spMkLst>
            <pc:docMk/>
            <pc:sldMk cId="3227978394" sldId="509"/>
            <ac:spMk id="2" creationId="{909DC09D-B9A6-4493-9A72-1CA7ECB1F5CA}"/>
          </ac:spMkLst>
        </pc:spChg>
        <pc:spChg chg="mod">
          <ac:chgData name="Thomas Stensitzki" userId="75cafe6b-2f2a-469b-85c4-eec3b9c972ba" providerId="ADAL" clId="{13A7DD84-EBC7-44DF-A4B8-478E332BAF16}" dt="2021-08-10T16:56:16.455" v="1470" actId="20577"/>
          <ac:spMkLst>
            <pc:docMk/>
            <pc:sldMk cId="3227978394" sldId="509"/>
            <ac:spMk id="5" creationId="{C24DACB5-1BEC-4C86-9652-BAFD8DE56FEF}"/>
          </ac:spMkLst>
        </pc:spChg>
      </pc:sldChg>
      <pc:sldChg chg="modSp add mod">
        <pc:chgData name="Thomas Stensitzki" userId="75cafe6b-2f2a-469b-85c4-eec3b9c972ba" providerId="ADAL" clId="{13A7DD84-EBC7-44DF-A4B8-478E332BAF16}" dt="2021-08-10T16:56:13.257" v="1469" actId="20577"/>
        <pc:sldMkLst>
          <pc:docMk/>
          <pc:sldMk cId="222762613" sldId="510"/>
        </pc:sldMkLst>
        <pc:spChg chg="mod">
          <ac:chgData name="Thomas Stensitzki" userId="75cafe6b-2f2a-469b-85c4-eec3b9c972ba" providerId="ADAL" clId="{13A7DD84-EBC7-44DF-A4B8-478E332BAF16}" dt="2021-08-10T16:56:10.651" v="1468" actId="14100"/>
          <ac:spMkLst>
            <pc:docMk/>
            <pc:sldMk cId="222762613" sldId="510"/>
            <ac:spMk id="2" creationId="{909DC09D-B9A6-4493-9A72-1CA7ECB1F5CA}"/>
          </ac:spMkLst>
        </pc:spChg>
        <pc:spChg chg="mod">
          <ac:chgData name="Thomas Stensitzki" userId="75cafe6b-2f2a-469b-85c4-eec3b9c972ba" providerId="ADAL" clId="{13A7DD84-EBC7-44DF-A4B8-478E332BAF16}" dt="2021-08-10T16:56:13.257" v="1469" actId="20577"/>
          <ac:spMkLst>
            <pc:docMk/>
            <pc:sldMk cId="222762613" sldId="510"/>
            <ac:spMk id="5" creationId="{C24DACB5-1BEC-4C86-9652-BAFD8DE56FEF}"/>
          </ac:spMkLst>
        </pc:spChg>
      </pc:sldChg>
      <pc:sldChg chg="modSp add mod">
        <pc:chgData name="Thomas Stensitzki" userId="75cafe6b-2f2a-469b-85c4-eec3b9c972ba" providerId="ADAL" clId="{13A7DD84-EBC7-44DF-A4B8-478E332BAF16}" dt="2021-08-10T16:56:51.530" v="1502" actId="1035"/>
        <pc:sldMkLst>
          <pc:docMk/>
          <pc:sldMk cId="1154144205" sldId="511"/>
        </pc:sldMkLst>
        <pc:spChg chg="mod">
          <ac:chgData name="Thomas Stensitzki" userId="75cafe6b-2f2a-469b-85c4-eec3b9c972ba" providerId="ADAL" clId="{13A7DD84-EBC7-44DF-A4B8-478E332BAF16}" dt="2021-08-10T16:56:51.530" v="1502" actId="1035"/>
          <ac:spMkLst>
            <pc:docMk/>
            <pc:sldMk cId="1154144205" sldId="511"/>
            <ac:spMk id="2" creationId="{909DC09D-B9A6-4493-9A72-1CA7ECB1F5CA}"/>
          </ac:spMkLst>
        </pc:spChg>
      </pc:sldChg>
      <pc:sldChg chg="modSp add mod">
        <pc:chgData name="Thomas Stensitzki" userId="75cafe6b-2f2a-469b-85c4-eec3b9c972ba" providerId="ADAL" clId="{13A7DD84-EBC7-44DF-A4B8-478E332BAF16}" dt="2021-08-10T16:57:27.205" v="1511" actId="14100"/>
        <pc:sldMkLst>
          <pc:docMk/>
          <pc:sldMk cId="409371138" sldId="512"/>
        </pc:sldMkLst>
        <pc:spChg chg="mod">
          <ac:chgData name="Thomas Stensitzki" userId="75cafe6b-2f2a-469b-85c4-eec3b9c972ba" providerId="ADAL" clId="{13A7DD84-EBC7-44DF-A4B8-478E332BAF16}" dt="2021-08-10T16:57:27.205" v="1511" actId="14100"/>
          <ac:spMkLst>
            <pc:docMk/>
            <pc:sldMk cId="409371138" sldId="512"/>
            <ac:spMk id="2" creationId="{909DC09D-B9A6-4493-9A72-1CA7ECB1F5CA}"/>
          </ac:spMkLst>
        </pc:spChg>
      </pc:sldChg>
      <pc:sldChg chg="addSp modSp new mod">
        <pc:chgData name="Thomas Stensitzki" userId="75cafe6b-2f2a-469b-85c4-eec3b9c972ba" providerId="ADAL" clId="{13A7DD84-EBC7-44DF-A4B8-478E332BAF16}" dt="2021-08-12T08:25:12.450" v="1635" actId="255"/>
        <pc:sldMkLst>
          <pc:docMk/>
          <pc:sldMk cId="2923837414" sldId="513"/>
        </pc:sldMkLst>
        <pc:spChg chg="mod">
          <ac:chgData name="Thomas Stensitzki" userId="75cafe6b-2f2a-469b-85c4-eec3b9c972ba" providerId="ADAL" clId="{13A7DD84-EBC7-44DF-A4B8-478E332BAF16}" dt="2021-08-12T08:21:38.595" v="1578" actId="20577"/>
          <ac:spMkLst>
            <pc:docMk/>
            <pc:sldMk cId="2923837414" sldId="513"/>
            <ac:spMk id="2" creationId="{BE2F18A5-78AE-405E-A20F-1654BB71EEC0}"/>
          </ac:spMkLst>
        </pc:spChg>
        <pc:spChg chg="mod">
          <ac:chgData name="Thomas Stensitzki" userId="75cafe6b-2f2a-469b-85c4-eec3b9c972ba" providerId="ADAL" clId="{13A7DD84-EBC7-44DF-A4B8-478E332BAF16}" dt="2021-08-12T08:25:12.450" v="1635" actId="255"/>
          <ac:spMkLst>
            <pc:docMk/>
            <pc:sldMk cId="2923837414" sldId="513"/>
            <ac:spMk id="3" creationId="{0EF91AAF-22C9-467A-BB36-B9178FCA5D28}"/>
          </ac:spMkLst>
        </pc:spChg>
        <pc:picChg chg="add mod">
          <ac:chgData name="Thomas Stensitzki" userId="75cafe6b-2f2a-469b-85c4-eec3b9c972ba" providerId="ADAL" clId="{13A7DD84-EBC7-44DF-A4B8-478E332BAF16}" dt="2021-08-12T08:23:34.516" v="1619" actId="1440"/>
          <ac:picMkLst>
            <pc:docMk/>
            <pc:sldMk cId="2923837414" sldId="513"/>
            <ac:picMk id="5" creationId="{4E13512F-C714-449D-B13D-17EE7BDEB782}"/>
          </ac:picMkLst>
        </pc:picChg>
      </pc:sldChg>
    </pc:docChg>
  </pc:docChgLst>
  <pc:docChgLst>
    <pc:chgData name="Thomas Stensitzki" userId="75cafe6b-2f2a-469b-85c4-eec3b9c972ba" providerId="ADAL" clId="{81A95A3F-591B-4915-9F30-386F1902D115}"/>
    <pc:docChg chg="undo custSel addSld delSld modSld sldOrd addSection modSection">
      <pc:chgData name="Thomas Stensitzki" userId="75cafe6b-2f2a-469b-85c4-eec3b9c972ba" providerId="ADAL" clId="{81A95A3F-591B-4915-9F30-386F1902D115}" dt="2022-06-08T12:07:08.400" v="1302"/>
      <pc:docMkLst>
        <pc:docMk/>
      </pc:docMkLst>
      <pc:sldChg chg="modSp mod">
        <pc:chgData name="Thomas Stensitzki" userId="75cafe6b-2f2a-469b-85c4-eec3b9c972ba" providerId="ADAL" clId="{81A95A3F-591B-4915-9F30-386F1902D115}" dt="2022-06-03T06:50:50.178" v="12" actId="20577"/>
        <pc:sldMkLst>
          <pc:docMk/>
          <pc:sldMk cId="671489701" sldId="256"/>
        </pc:sldMkLst>
        <pc:spChg chg="mod">
          <ac:chgData name="Thomas Stensitzki" userId="75cafe6b-2f2a-469b-85c4-eec3b9c972ba" providerId="ADAL" clId="{81A95A3F-591B-4915-9F30-386F1902D115}" dt="2022-06-03T06:50:50.178" v="12" actId="20577"/>
          <ac:spMkLst>
            <pc:docMk/>
            <pc:sldMk cId="671489701" sldId="256"/>
            <ac:spMk id="3" creationId="{CBA95633-B02D-4A15-A8B1-A38E0A70FD27}"/>
          </ac:spMkLst>
        </pc:spChg>
      </pc:sldChg>
      <pc:sldChg chg="addSp delSp modSp mod">
        <pc:chgData name="Thomas Stensitzki" userId="75cafe6b-2f2a-469b-85c4-eec3b9c972ba" providerId="ADAL" clId="{81A95A3F-591B-4915-9F30-386F1902D115}" dt="2022-06-08T11:52:17.145" v="936" actId="6549"/>
        <pc:sldMkLst>
          <pc:docMk/>
          <pc:sldMk cId="2855324227" sldId="257"/>
        </pc:sldMkLst>
        <pc:graphicFrameChg chg="add del mod">
          <ac:chgData name="Thomas Stensitzki" userId="75cafe6b-2f2a-469b-85c4-eec3b9c972ba" providerId="ADAL" clId="{81A95A3F-591B-4915-9F30-386F1902D115}" dt="2022-06-03T06:51:52.448" v="15"/>
          <ac:graphicFrameMkLst>
            <pc:docMk/>
            <pc:sldMk cId="2855324227" sldId="257"/>
            <ac:graphicFrameMk id="3" creationId="{0FDE41B6-4C83-4347-8B81-DD50390DD070}"/>
          </ac:graphicFrameMkLst>
        </pc:graphicFrameChg>
        <pc:graphicFrameChg chg="mod modGraphic">
          <ac:chgData name="Thomas Stensitzki" userId="75cafe6b-2f2a-469b-85c4-eec3b9c972ba" providerId="ADAL" clId="{81A95A3F-591B-4915-9F30-386F1902D115}" dt="2022-06-08T11:52:17.145" v="936" actId="6549"/>
          <ac:graphicFrameMkLst>
            <pc:docMk/>
            <pc:sldMk cId="2855324227" sldId="257"/>
            <ac:graphicFrameMk id="6" creationId="{0F955DCC-462D-431D-BBDE-26F10687D590}"/>
          </ac:graphicFrameMkLst>
        </pc:graphicFrameChg>
      </pc:sldChg>
      <pc:sldChg chg="modSp mod">
        <pc:chgData name="Thomas Stensitzki" userId="75cafe6b-2f2a-469b-85c4-eec3b9c972ba" providerId="ADAL" clId="{81A95A3F-591B-4915-9F30-386F1902D115}" dt="2022-06-03T06:56:53.959" v="92" actId="20577"/>
        <pc:sldMkLst>
          <pc:docMk/>
          <pc:sldMk cId="3332792154" sldId="258"/>
        </pc:sldMkLst>
        <pc:spChg chg="mod">
          <ac:chgData name="Thomas Stensitzki" userId="75cafe6b-2f2a-469b-85c4-eec3b9c972ba" providerId="ADAL" clId="{81A95A3F-591B-4915-9F30-386F1902D115}" dt="2022-06-03T06:56:53.959" v="92" actId="20577"/>
          <ac:spMkLst>
            <pc:docMk/>
            <pc:sldMk cId="3332792154" sldId="258"/>
            <ac:spMk id="3" creationId="{3A5A44EB-7FB9-473A-8ED3-C49DDD2E65AB}"/>
          </ac:spMkLst>
        </pc:spChg>
      </pc:sldChg>
      <pc:sldChg chg="modSp mod">
        <pc:chgData name="Thomas Stensitzki" userId="75cafe6b-2f2a-469b-85c4-eec3b9c972ba" providerId="ADAL" clId="{81A95A3F-591B-4915-9F30-386F1902D115}" dt="2022-06-03T06:55:37.696" v="42" actId="20577"/>
        <pc:sldMkLst>
          <pc:docMk/>
          <pc:sldMk cId="2698998357" sldId="260"/>
        </pc:sldMkLst>
        <pc:spChg chg="mod">
          <ac:chgData name="Thomas Stensitzki" userId="75cafe6b-2f2a-469b-85c4-eec3b9c972ba" providerId="ADAL" clId="{81A95A3F-591B-4915-9F30-386F1902D115}" dt="2022-06-03T06:52:37.437" v="22"/>
          <ac:spMkLst>
            <pc:docMk/>
            <pc:sldMk cId="2698998357" sldId="260"/>
            <ac:spMk id="4" creationId="{F3A15CBD-C746-44A3-A4F0-4898CE2F02E6}"/>
          </ac:spMkLst>
        </pc:spChg>
        <pc:spChg chg="mod">
          <ac:chgData name="Thomas Stensitzki" userId="75cafe6b-2f2a-469b-85c4-eec3b9c972ba" providerId="ADAL" clId="{81A95A3F-591B-4915-9F30-386F1902D115}" dt="2022-06-03T06:55:37.696" v="42" actId="20577"/>
          <ac:spMkLst>
            <pc:docMk/>
            <pc:sldMk cId="2698998357" sldId="260"/>
            <ac:spMk id="5" creationId="{F3459BE7-1731-4733-A912-12977C68CFD6}"/>
          </ac:spMkLst>
        </pc:spChg>
      </pc:sldChg>
      <pc:sldChg chg="modSp add mod">
        <pc:chgData name="Thomas Stensitzki" userId="75cafe6b-2f2a-469b-85c4-eec3b9c972ba" providerId="ADAL" clId="{81A95A3F-591B-4915-9F30-386F1902D115}" dt="2022-06-03T08:07:25.694" v="98" actId="6549"/>
        <pc:sldMkLst>
          <pc:docMk/>
          <pc:sldMk cId="4007670073" sldId="268"/>
        </pc:sldMkLst>
        <pc:spChg chg="mod">
          <ac:chgData name="Thomas Stensitzki" userId="75cafe6b-2f2a-469b-85c4-eec3b9c972ba" providerId="ADAL" clId="{81A95A3F-591B-4915-9F30-386F1902D115}" dt="2022-06-03T08:07:25.694" v="98" actId="6549"/>
          <ac:spMkLst>
            <pc:docMk/>
            <pc:sldMk cId="4007670073" sldId="268"/>
            <ac:spMk id="5" creationId="{F3459BE7-1731-4733-A912-12977C68CFD6}"/>
          </ac:spMkLst>
        </pc:spChg>
      </pc:sldChg>
      <pc:sldChg chg="modSp mod modShow">
        <pc:chgData name="Thomas Stensitzki" userId="75cafe6b-2f2a-469b-85c4-eec3b9c972ba" providerId="ADAL" clId="{81A95A3F-591B-4915-9F30-386F1902D115}" dt="2022-06-08T09:48:57.384" v="729" actId="729"/>
        <pc:sldMkLst>
          <pc:docMk/>
          <pc:sldMk cId="2721051844" sldId="269"/>
        </pc:sldMkLst>
        <pc:spChg chg="mod">
          <ac:chgData name="Thomas Stensitzki" userId="75cafe6b-2f2a-469b-85c4-eec3b9c972ba" providerId="ADAL" clId="{81A95A3F-591B-4915-9F30-386F1902D115}" dt="2022-06-08T09:48:41.339" v="728" actId="6549"/>
          <ac:spMkLst>
            <pc:docMk/>
            <pc:sldMk cId="2721051844" sldId="269"/>
            <ac:spMk id="5" creationId="{C24DACB5-1BEC-4C86-9652-BAFD8DE56FEF}"/>
          </ac:spMkLst>
        </pc:spChg>
      </pc:sldChg>
      <pc:sldChg chg="del">
        <pc:chgData name="Thomas Stensitzki" userId="75cafe6b-2f2a-469b-85c4-eec3b9c972ba" providerId="ADAL" clId="{81A95A3F-591B-4915-9F30-386F1902D115}" dt="2022-06-08T11:51:42.055" v="921" actId="2696"/>
        <pc:sldMkLst>
          <pc:docMk/>
          <pc:sldMk cId="726195275" sldId="313"/>
        </pc:sldMkLst>
      </pc:sldChg>
      <pc:sldChg chg="modSp add mod">
        <pc:chgData name="Thomas Stensitzki" userId="75cafe6b-2f2a-469b-85c4-eec3b9c972ba" providerId="ADAL" clId="{81A95A3F-591B-4915-9F30-386F1902D115}" dt="2022-06-08T11:52:31.527" v="938" actId="14100"/>
        <pc:sldMkLst>
          <pc:docMk/>
          <pc:sldMk cId="2227487991" sldId="378"/>
        </pc:sldMkLst>
        <pc:spChg chg="mod">
          <ac:chgData name="Thomas Stensitzki" userId="75cafe6b-2f2a-469b-85c4-eec3b9c972ba" providerId="ADAL" clId="{81A95A3F-591B-4915-9F30-386F1902D115}" dt="2022-06-08T11:52:31.527" v="938" actId="14100"/>
          <ac:spMkLst>
            <pc:docMk/>
            <pc:sldMk cId="2227487991" sldId="378"/>
            <ac:spMk id="2" creationId="{909DC09D-B9A6-4493-9A72-1CA7ECB1F5CA}"/>
          </ac:spMkLst>
        </pc:spChg>
        <pc:spChg chg="mod">
          <ac:chgData name="Thomas Stensitzki" userId="75cafe6b-2f2a-469b-85c4-eec3b9c972ba" providerId="ADAL" clId="{81A95A3F-591B-4915-9F30-386F1902D115}" dt="2022-06-03T11:39:31.534" v="230"/>
          <ac:spMkLst>
            <pc:docMk/>
            <pc:sldMk cId="2227487991" sldId="378"/>
            <ac:spMk id="5" creationId="{C24DACB5-1BEC-4C86-9652-BAFD8DE56FEF}"/>
          </ac:spMkLst>
        </pc:spChg>
      </pc:sldChg>
      <pc:sldChg chg="modSp add mod">
        <pc:chgData name="Thomas Stensitzki" userId="75cafe6b-2f2a-469b-85c4-eec3b9c972ba" providerId="ADAL" clId="{81A95A3F-591B-4915-9F30-386F1902D115}" dt="2022-06-08T12:01:00.068" v="1223" actId="14100"/>
        <pc:sldMkLst>
          <pc:docMk/>
          <pc:sldMk cId="3797754622" sldId="515"/>
        </pc:sldMkLst>
        <pc:spChg chg="mod">
          <ac:chgData name="Thomas Stensitzki" userId="75cafe6b-2f2a-469b-85c4-eec3b9c972ba" providerId="ADAL" clId="{81A95A3F-591B-4915-9F30-386F1902D115}" dt="2022-06-08T12:01:00.068" v="1223" actId="14100"/>
          <ac:spMkLst>
            <pc:docMk/>
            <pc:sldMk cId="3797754622" sldId="515"/>
            <ac:spMk id="2" creationId="{909DC09D-B9A6-4493-9A72-1CA7ECB1F5CA}"/>
          </ac:spMkLst>
        </pc:spChg>
        <pc:spChg chg="mod">
          <ac:chgData name="Thomas Stensitzki" userId="75cafe6b-2f2a-469b-85c4-eec3b9c972ba" providerId="ADAL" clId="{81A95A3F-591B-4915-9F30-386F1902D115}" dt="2022-06-08T11:53:45.243" v="945" actId="108"/>
          <ac:spMkLst>
            <pc:docMk/>
            <pc:sldMk cId="3797754622" sldId="515"/>
            <ac:spMk id="5" creationId="{C24DACB5-1BEC-4C86-9652-BAFD8DE56FEF}"/>
          </ac:spMkLst>
        </pc:spChg>
      </pc:sldChg>
      <pc:sldChg chg="modSp mod modShow">
        <pc:chgData name="Thomas Stensitzki" userId="75cafe6b-2f2a-469b-85c4-eec3b9c972ba" providerId="ADAL" clId="{81A95A3F-591B-4915-9F30-386F1902D115}" dt="2022-06-08T09:55:01.520" v="920" actId="6549"/>
        <pc:sldMkLst>
          <pc:docMk/>
          <pc:sldMk cId="2791634409" sldId="560"/>
        </pc:sldMkLst>
        <pc:spChg chg="mod">
          <ac:chgData name="Thomas Stensitzki" userId="75cafe6b-2f2a-469b-85c4-eec3b9c972ba" providerId="ADAL" clId="{81A95A3F-591B-4915-9F30-386F1902D115}" dt="2022-06-08T09:55:01.520" v="920" actId="6549"/>
          <ac:spMkLst>
            <pc:docMk/>
            <pc:sldMk cId="2791634409" sldId="560"/>
            <ac:spMk id="5" creationId="{E4B561B6-C0CF-43D8-8BC7-F305B96C47C8}"/>
          </ac:spMkLst>
        </pc:spChg>
      </pc:sldChg>
      <pc:sldChg chg="modSp mod">
        <pc:chgData name="Thomas Stensitzki" userId="75cafe6b-2f2a-469b-85c4-eec3b9c972ba" providerId="ADAL" clId="{81A95A3F-591B-4915-9F30-386F1902D115}" dt="2022-06-08T09:54:34.169" v="918" actId="2165"/>
        <pc:sldMkLst>
          <pc:docMk/>
          <pc:sldMk cId="1728515471" sldId="561"/>
        </pc:sldMkLst>
        <pc:graphicFrameChg chg="modGraphic">
          <ac:chgData name="Thomas Stensitzki" userId="75cafe6b-2f2a-469b-85c4-eec3b9c972ba" providerId="ADAL" clId="{81A95A3F-591B-4915-9F30-386F1902D115}" dt="2022-06-08T09:54:34.169" v="918" actId="2165"/>
          <ac:graphicFrameMkLst>
            <pc:docMk/>
            <pc:sldMk cId="1728515471" sldId="561"/>
            <ac:graphicFrameMk id="4" creationId="{55EDB790-67BC-42E5-B64A-5647620B8383}"/>
          </ac:graphicFrameMkLst>
        </pc:graphicFrameChg>
      </pc:sldChg>
      <pc:sldChg chg="addSp delSp modSp add mod modAnim">
        <pc:chgData name="Thomas Stensitzki" userId="75cafe6b-2f2a-469b-85c4-eec3b9c972ba" providerId="ADAL" clId="{81A95A3F-591B-4915-9F30-386F1902D115}" dt="2022-06-08T12:06:23.419" v="1287"/>
        <pc:sldMkLst>
          <pc:docMk/>
          <pc:sldMk cId="4104137776" sldId="567"/>
        </pc:sldMkLst>
        <pc:spChg chg="mod">
          <ac:chgData name="Thomas Stensitzki" userId="75cafe6b-2f2a-469b-85c4-eec3b9c972ba" providerId="ADAL" clId="{81A95A3F-591B-4915-9F30-386F1902D115}" dt="2022-06-08T09:28:51.060" v="508" actId="20577"/>
          <ac:spMkLst>
            <pc:docMk/>
            <pc:sldMk cId="4104137776" sldId="567"/>
            <ac:spMk id="2" creationId="{EC46AD28-746E-4246-884F-4DAE24C62042}"/>
          </ac:spMkLst>
        </pc:spChg>
        <pc:spChg chg="del">
          <ac:chgData name="Thomas Stensitzki" userId="75cafe6b-2f2a-469b-85c4-eec3b9c972ba" providerId="ADAL" clId="{81A95A3F-591B-4915-9F30-386F1902D115}" dt="2022-06-08T09:27:38.782" v="489" actId="478"/>
          <ac:spMkLst>
            <pc:docMk/>
            <pc:sldMk cId="4104137776" sldId="567"/>
            <ac:spMk id="3" creationId="{4B4B1B02-433C-4551-A25C-9193BE90D3D9}"/>
          </ac:spMkLst>
        </pc:spChg>
        <pc:spChg chg="add del mod">
          <ac:chgData name="Thomas Stensitzki" userId="75cafe6b-2f2a-469b-85c4-eec3b9c972ba" providerId="ADAL" clId="{81A95A3F-591B-4915-9F30-386F1902D115}" dt="2022-06-08T09:27:40.389" v="490" actId="478"/>
          <ac:spMkLst>
            <pc:docMk/>
            <pc:sldMk cId="4104137776" sldId="567"/>
            <ac:spMk id="5" creationId="{48C297EC-2B9E-4333-A9F4-8BF60106481A}"/>
          </ac:spMkLst>
        </pc:spChg>
        <pc:picChg chg="add mod">
          <ac:chgData name="Thomas Stensitzki" userId="75cafe6b-2f2a-469b-85c4-eec3b9c972ba" providerId="ADAL" clId="{81A95A3F-591B-4915-9F30-386F1902D115}" dt="2022-06-08T09:27:57.597" v="494" actId="1440"/>
          <ac:picMkLst>
            <pc:docMk/>
            <pc:sldMk cId="4104137776" sldId="567"/>
            <ac:picMk id="6146" creationId="{BEB228D0-D6CB-482E-981C-8BBE1B427912}"/>
          </ac:picMkLst>
        </pc:picChg>
        <pc:picChg chg="add mod">
          <ac:chgData name="Thomas Stensitzki" userId="75cafe6b-2f2a-469b-85c4-eec3b9c972ba" providerId="ADAL" clId="{81A95A3F-591B-4915-9F30-386F1902D115}" dt="2022-06-08T09:28:28.791" v="500" actId="1440"/>
          <ac:picMkLst>
            <pc:docMk/>
            <pc:sldMk cId="4104137776" sldId="567"/>
            <ac:picMk id="6148" creationId="{C73D027B-CA10-4632-9BCD-2A04C1CA1660}"/>
          </ac:picMkLst>
        </pc:picChg>
      </pc:sldChg>
      <pc:sldChg chg="addSp delSp modSp add mod">
        <pc:chgData name="Thomas Stensitzki" userId="75cafe6b-2f2a-469b-85c4-eec3b9c972ba" providerId="ADAL" clId="{81A95A3F-591B-4915-9F30-386F1902D115}" dt="2022-06-03T11:30:37.006" v="156" actId="1440"/>
        <pc:sldMkLst>
          <pc:docMk/>
          <pc:sldMk cId="2374589673" sldId="568"/>
        </pc:sldMkLst>
        <pc:spChg chg="mod">
          <ac:chgData name="Thomas Stensitzki" userId="75cafe6b-2f2a-469b-85c4-eec3b9c972ba" providerId="ADAL" clId="{81A95A3F-591B-4915-9F30-386F1902D115}" dt="2022-06-03T11:29:35.772" v="144"/>
          <ac:spMkLst>
            <pc:docMk/>
            <pc:sldMk cId="2374589673" sldId="568"/>
            <ac:spMk id="2" creationId="{6A814F1C-A68B-4C48-BFC7-E0C8475DD978}"/>
          </ac:spMkLst>
        </pc:spChg>
        <pc:spChg chg="del">
          <ac:chgData name="Thomas Stensitzki" userId="75cafe6b-2f2a-469b-85c4-eec3b9c972ba" providerId="ADAL" clId="{81A95A3F-591B-4915-9F30-386F1902D115}" dt="2022-06-03T11:29:51.567" v="147" actId="478"/>
          <ac:spMkLst>
            <pc:docMk/>
            <pc:sldMk cId="2374589673" sldId="568"/>
            <ac:spMk id="3" creationId="{4FF3BEF0-B65A-4D8F-9E68-52DE5DDDED8D}"/>
          </ac:spMkLst>
        </pc:spChg>
        <pc:spChg chg="add del mod">
          <ac:chgData name="Thomas Stensitzki" userId="75cafe6b-2f2a-469b-85c4-eec3b9c972ba" providerId="ADAL" clId="{81A95A3F-591B-4915-9F30-386F1902D115}" dt="2022-06-03T11:29:55.779" v="148" actId="478"/>
          <ac:spMkLst>
            <pc:docMk/>
            <pc:sldMk cId="2374589673" sldId="568"/>
            <ac:spMk id="5" creationId="{F79B5E16-C6BF-4590-87B9-58851FA321EE}"/>
          </ac:spMkLst>
        </pc:spChg>
        <pc:spChg chg="add del">
          <ac:chgData name="Thomas Stensitzki" userId="75cafe6b-2f2a-469b-85c4-eec3b9c972ba" providerId="ADAL" clId="{81A95A3F-591B-4915-9F30-386F1902D115}" dt="2022-06-03T11:30:06.252" v="150" actId="22"/>
          <ac:spMkLst>
            <pc:docMk/>
            <pc:sldMk cId="2374589673" sldId="568"/>
            <ac:spMk id="7" creationId="{0651B3DC-AA07-49A2-927C-68EFF9647093}"/>
          </ac:spMkLst>
        </pc:spChg>
        <pc:spChg chg="add del">
          <ac:chgData name="Thomas Stensitzki" userId="75cafe6b-2f2a-469b-85c4-eec3b9c972ba" providerId="ADAL" clId="{81A95A3F-591B-4915-9F30-386F1902D115}" dt="2022-06-03T11:30:08.929" v="152" actId="22"/>
          <ac:spMkLst>
            <pc:docMk/>
            <pc:sldMk cId="2374589673" sldId="568"/>
            <ac:spMk id="9" creationId="{9610EA3F-6549-43B0-B568-48C5F46C30EC}"/>
          </ac:spMkLst>
        </pc:spChg>
        <pc:picChg chg="add mod">
          <ac:chgData name="Thomas Stensitzki" userId="75cafe6b-2f2a-469b-85c4-eec3b9c972ba" providerId="ADAL" clId="{81A95A3F-591B-4915-9F30-386F1902D115}" dt="2022-06-03T11:30:37.006" v="156" actId="1440"/>
          <ac:picMkLst>
            <pc:docMk/>
            <pc:sldMk cId="2374589673" sldId="568"/>
            <ac:picMk id="1026" creationId="{6FE7E3D1-09D6-45A9-838F-43916C75E2D9}"/>
          </ac:picMkLst>
        </pc:picChg>
      </pc:sldChg>
      <pc:sldChg chg="del">
        <pc:chgData name="Thomas Stensitzki" userId="75cafe6b-2f2a-469b-85c4-eec3b9c972ba" providerId="ADAL" clId="{81A95A3F-591B-4915-9F30-386F1902D115}" dt="2022-06-03T06:55:47.692" v="43" actId="47"/>
        <pc:sldMkLst>
          <pc:docMk/>
          <pc:sldMk cId="2363331893" sldId="591"/>
        </pc:sldMkLst>
      </pc:sldChg>
      <pc:sldChg chg="del">
        <pc:chgData name="Thomas Stensitzki" userId="75cafe6b-2f2a-469b-85c4-eec3b9c972ba" providerId="ADAL" clId="{81A95A3F-591B-4915-9F30-386F1902D115}" dt="2022-06-03T06:55:47.692" v="43" actId="47"/>
        <pc:sldMkLst>
          <pc:docMk/>
          <pc:sldMk cId="3853557247" sldId="592"/>
        </pc:sldMkLst>
      </pc:sldChg>
      <pc:sldChg chg="del">
        <pc:chgData name="Thomas Stensitzki" userId="75cafe6b-2f2a-469b-85c4-eec3b9c972ba" providerId="ADAL" clId="{81A95A3F-591B-4915-9F30-386F1902D115}" dt="2022-06-03T06:55:47.692" v="43" actId="47"/>
        <pc:sldMkLst>
          <pc:docMk/>
          <pc:sldMk cId="2298534792" sldId="593"/>
        </pc:sldMkLst>
      </pc:sldChg>
      <pc:sldChg chg="del">
        <pc:chgData name="Thomas Stensitzki" userId="75cafe6b-2f2a-469b-85c4-eec3b9c972ba" providerId="ADAL" clId="{81A95A3F-591B-4915-9F30-386F1902D115}" dt="2022-06-03T06:55:47.692" v="43" actId="47"/>
        <pc:sldMkLst>
          <pc:docMk/>
          <pc:sldMk cId="166762484" sldId="594"/>
        </pc:sldMkLst>
      </pc:sldChg>
      <pc:sldChg chg="del">
        <pc:chgData name="Thomas Stensitzki" userId="75cafe6b-2f2a-469b-85c4-eec3b9c972ba" providerId="ADAL" clId="{81A95A3F-591B-4915-9F30-386F1902D115}" dt="2022-06-03T06:55:47.692" v="43" actId="47"/>
        <pc:sldMkLst>
          <pc:docMk/>
          <pc:sldMk cId="2680249750" sldId="595"/>
        </pc:sldMkLst>
      </pc:sldChg>
      <pc:sldChg chg="del">
        <pc:chgData name="Thomas Stensitzki" userId="75cafe6b-2f2a-469b-85c4-eec3b9c972ba" providerId="ADAL" clId="{81A95A3F-591B-4915-9F30-386F1902D115}" dt="2022-06-03T06:55:47.692" v="43" actId="47"/>
        <pc:sldMkLst>
          <pc:docMk/>
          <pc:sldMk cId="1109434383" sldId="596"/>
        </pc:sldMkLst>
      </pc:sldChg>
      <pc:sldChg chg="del">
        <pc:chgData name="Thomas Stensitzki" userId="75cafe6b-2f2a-469b-85c4-eec3b9c972ba" providerId="ADAL" clId="{81A95A3F-591B-4915-9F30-386F1902D115}" dt="2022-06-03T06:55:47.692" v="43" actId="47"/>
        <pc:sldMkLst>
          <pc:docMk/>
          <pc:sldMk cId="2098288780" sldId="597"/>
        </pc:sldMkLst>
      </pc:sldChg>
      <pc:sldChg chg="del">
        <pc:chgData name="Thomas Stensitzki" userId="75cafe6b-2f2a-469b-85c4-eec3b9c972ba" providerId="ADAL" clId="{81A95A3F-591B-4915-9F30-386F1902D115}" dt="2022-06-03T06:55:47.692" v="43" actId="47"/>
        <pc:sldMkLst>
          <pc:docMk/>
          <pc:sldMk cId="2122712351" sldId="598"/>
        </pc:sldMkLst>
      </pc:sldChg>
      <pc:sldChg chg="del">
        <pc:chgData name="Thomas Stensitzki" userId="75cafe6b-2f2a-469b-85c4-eec3b9c972ba" providerId="ADAL" clId="{81A95A3F-591B-4915-9F30-386F1902D115}" dt="2022-06-03T06:55:47.692" v="43" actId="47"/>
        <pc:sldMkLst>
          <pc:docMk/>
          <pc:sldMk cId="1914820320" sldId="599"/>
        </pc:sldMkLst>
      </pc:sldChg>
      <pc:sldChg chg="del">
        <pc:chgData name="Thomas Stensitzki" userId="75cafe6b-2f2a-469b-85c4-eec3b9c972ba" providerId="ADAL" clId="{81A95A3F-591B-4915-9F30-386F1902D115}" dt="2022-06-03T06:55:47.692" v="43" actId="47"/>
        <pc:sldMkLst>
          <pc:docMk/>
          <pc:sldMk cId="3219683340" sldId="600"/>
        </pc:sldMkLst>
      </pc:sldChg>
      <pc:sldChg chg="del">
        <pc:chgData name="Thomas Stensitzki" userId="75cafe6b-2f2a-469b-85c4-eec3b9c972ba" providerId="ADAL" clId="{81A95A3F-591B-4915-9F30-386F1902D115}" dt="2022-06-03T06:55:47.692" v="43" actId="47"/>
        <pc:sldMkLst>
          <pc:docMk/>
          <pc:sldMk cId="1699378225" sldId="601"/>
        </pc:sldMkLst>
      </pc:sldChg>
      <pc:sldChg chg="del">
        <pc:chgData name="Thomas Stensitzki" userId="75cafe6b-2f2a-469b-85c4-eec3b9c972ba" providerId="ADAL" clId="{81A95A3F-591B-4915-9F30-386F1902D115}" dt="2022-06-03T06:55:47.692" v="43" actId="47"/>
        <pc:sldMkLst>
          <pc:docMk/>
          <pc:sldMk cId="131291966" sldId="602"/>
        </pc:sldMkLst>
      </pc:sldChg>
      <pc:sldChg chg="del">
        <pc:chgData name="Thomas Stensitzki" userId="75cafe6b-2f2a-469b-85c4-eec3b9c972ba" providerId="ADAL" clId="{81A95A3F-591B-4915-9F30-386F1902D115}" dt="2022-06-03T06:55:47.692" v="43" actId="47"/>
        <pc:sldMkLst>
          <pc:docMk/>
          <pc:sldMk cId="3760544869" sldId="603"/>
        </pc:sldMkLst>
      </pc:sldChg>
      <pc:sldChg chg="del">
        <pc:chgData name="Thomas Stensitzki" userId="75cafe6b-2f2a-469b-85c4-eec3b9c972ba" providerId="ADAL" clId="{81A95A3F-591B-4915-9F30-386F1902D115}" dt="2022-06-03T06:55:47.692" v="43" actId="47"/>
        <pc:sldMkLst>
          <pc:docMk/>
          <pc:sldMk cId="4098706796" sldId="604"/>
        </pc:sldMkLst>
      </pc:sldChg>
      <pc:sldChg chg="del">
        <pc:chgData name="Thomas Stensitzki" userId="75cafe6b-2f2a-469b-85c4-eec3b9c972ba" providerId="ADAL" clId="{81A95A3F-591B-4915-9F30-386F1902D115}" dt="2022-06-03T06:55:47.692" v="43" actId="47"/>
        <pc:sldMkLst>
          <pc:docMk/>
          <pc:sldMk cId="4145245121" sldId="605"/>
        </pc:sldMkLst>
      </pc:sldChg>
      <pc:sldChg chg="modSp mod ord modShow">
        <pc:chgData name="Thomas Stensitzki" userId="75cafe6b-2f2a-469b-85c4-eec3b9c972ba" providerId="ADAL" clId="{81A95A3F-591B-4915-9F30-386F1902D115}" dt="2022-06-03T08:08:13.814" v="102" actId="729"/>
        <pc:sldMkLst>
          <pc:docMk/>
          <pc:sldMk cId="1856989855" sldId="606"/>
        </pc:sldMkLst>
        <pc:spChg chg="mod">
          <ac:chgData name="Thomas Stensitzki" userId="75cafe6b-2f2a-469b-85c4-eec3b9c972ba" providerId="ADAL" clId="{81A95A3F-591B-4915-9F30-386F1902D115}" dt="2022-06-03T06:56:00.809" v="49" actId="20577"/>
          <ac:spMkLst>
            <pc:docMk/>
            <pc:sldMk cId="1856989855" sldId="606"/>
            <ac:spMk id="4" creationId="{F3A15CBD-C746-44A3-A4F0-4898CE2F02E6}"/>
          </ac:spMkLst>
        </pc:spChg>
        <pc:spChg chg="mod">
          <ac:chgData name="Thomas Stensitzki" userId="75cafe6b-2f2a-469b-85c4-eec3b9c972ba" providerId="ADAL" clId="{81A95A3F-591B-4915-9F30-386F1902D115}" dt="2022-06-03T06:56:08.400" v="58" actId="20577"/>
          <ac:spMkLst>
            <pc:docMk/>
            <pc:sldMk cId="1856989855" sldId="606"/>
            <ac:spMk id="5" creationId="{F3459BE7-1731-4733-A912-12977C68CFD6}"/>
          </ac:spMkLst>
        </pc:spChg>
      </pc:sldChg>
      <pc:sldChg chg="delSp new mod setBg modClrScheme chgLayout">
        <pc:chgData name="Thomas Stensitzki" userId="75cafe6b-2f2a-469b-85c4-eec3b9c972ba" providerId="ADAL" clId="{81A95A3F-591B-4915-9F30-386F1902D115}" dt="2022-06-03T08:08:51.541" v="105"/>
        <pc:sldMkLst>
          <pc:docMk/>
          <pc:sldMk cId="1051205786" sldId="607"/>
        </pc:sldMkLst>
        <pc:spChg chg="del">
          <ac:chgData name="Thomas Stensitzki" userId="75cafe6b-2f2a-469b-85c4-eec3b9c972ba" providerId="ADAL" clId="{81A95A3F-591B-4915-9F30-386F1902D115}" dt="2022-06-03T08:08:34.030" v="104" actId="700"/>
          <ac:spMkLst>
            <pc:docMk/>
            <pc:sldMk cId="1051205786" sldId="607"/>
            <ac:spMk id="2" creationId="{D0285D58-6AFE-42DB-9946-597F2E228E08}"/>
          </ac:spMkLst>
        </pc:spChg>
        <pc:spChg chg="del">
          <ac:chgData name="Thomas Stensitzki" userId="75cafe6b-2f2a-469b-85c4-eec3b9c972ba" providerId="ADAL" clId="{81A95A3F-591B-4915-9F30-386F1902D115}" dt="2022-06-03T08:08:34.030" v="104" actId="700"/>
          <ac:spMkLst>
            <pc:docMk/>
            <pc:sldMk cId="1051205786" sldId="607"/>
            <ac:spMk id="3" creationId="{6F2033C4-8B31-4F8B-A36D-3EEAB5A9E84B}"/>
          </ac:spMkLst>
        </pc:spChg>
      </pc:sldChg>
      <pc:sldChg chg="del">
        <pc:chgData name="Thomas Stensitzki" userId="75cafe6b-2f2a-469b-85c4-eec3b9c972ba" providerId="ADAL" clId="{81A95A3F-591B-4915-9F30-386F1902D115}" dt="2022-06-03T06:55:47.692" v="43" actId="47"/>
        <pc:sldMkLst>
          <pc:docMk/>
          <pc:sldMk cId="2410402961" sldId="607"/>
        </pc:sldMkLst>
      </pc:sldChg>
      <pc:sldChg chg="addSp modSp add mod modClrScheme chgLayout">
        <pc:chgData name="Thomas Stensitzki" userId="75cafe6b-2f2a-469b-85c4-eec3b9c972ba" providerId="ADAL" clId="{81A95A3F-591B-4915-9F30-386F1902D115}" dt="2022-06-03T11:37:24.781" v="223" actId="113"/>
        <pc:sldMkLst>
          <pc:docMk/>
          <pc:sldMk cId="1133784921" sldId="608"/>
        </pc:sldMkLst>
        <pc:spChg chg="mod ord">
          <ac:chgData name="Thomas Stensitzki" userId="75cafe6b-2f2a-469b-85c4-eec3b9c972ba" providerId="ADAL" clId="{81A95A3F-591B-4915-9F30-386F1902D115}" dt="2022-06-03T11:37:03.975" v="218" actId="700"/>
          <ac:spMkLst>
            <pc:docMk/>
            <pc:sldMk cId="1133784921" sldId="608"/>
            <ac:spMk id="2" creationId="{6A814F1C-A68B-4C48-BFC7-E0C8475DD978}"/>
          </ac:spMkLst>
        </pc:spChg>
        <pc:spChg chg="mod ord">
          <ac:chgData name="Thomas Stensitzki" userId="75cafe6b-2f2a-469b-85c4-eec3b9c972ba" providerId="ADAL" clId="{81A95A3F-591B-4915-9F30-386F1902D115}" dt="2022-06-03T11:37:22.597" v="222" actId="113"/>
          <ac:spMkLst>
            <pc:docMk/>
            <pc:sldMk cId="1133784921" sldId="608"/>
            <ac:spMk id="3" creationId="{4FF3BEF0-B65A-4D8F-9E68-52DE5DDDED8D}"/>
          </ac:spMkLst>
        </pc:spChg>
        <pc:spChg chg="add mod ord">
          <ac:chgData name="Thomas Stensitzki" userId="75cafe6b-2f2a-469b-85c4-eec3b9c972ba" providerId="ADAL" clId="{81A95A3F-591B-4915-9F30-386F1902D115}" dt="2022-06-03T11:37:24.781" v="223" actId="113"/>
          <ac:spMkLst>
            <pc:docMk/>
            <pc:sldMk cId="1133784921" sldId="608"/>
            <ac:spMk id="4" creationId="{A0750C0A-B9C2-4DE9-942B-7701A11CD55C}"/>
          </ac:spMkLst>
        </pc:spChg>
      </pc:sldChg>
      <pc:sldChg chg="addSp delSp modSp new mod modNotesTx">
        <pc:chgData name="Thomas Stensitzki" userId="75cafe6b-2f2a-469b-85c4-eec3b9c972ba" providerId="ADAL" clId="{81A95A3F-591B-4915-9F30-386F1902D115}" dt="2022-06-03T11:32:23.977" v="168" actId="20577"/>
        <pc:sldMkLst>
          <pc:docMk/>
          <pc:sldMk cId="194201490" sldId="609"/>
        </pc:sldMkLst>
        <pc:spChg chg="mod">
          <ac:chgData name="Thomas Stensitzki" userId="75cafe6b-2f2a-469b-85c4-eec3b9c972ba" providerId="ADAL" clId="{81A95A3F-591B-4915-9F30-386F1902D115}" dt="2022-06-03T11:31:27.442" v="160"/>
          <ac:spMkLst>
            <pc:docMk/>
            <pc:sldMk cId="194201490" sldId="609"/>
            <ac:spMk id="2" creationId="{693BA138-EC57-4528-958B-434CE6DBB9CF}"/>
          </ac:spMkLst>
        </pc:spChg>
        <pc:picChg chg="add del">
          <ac:chgData name="Thomas Stensitzki" userId="75cafe6b-2f2a-469b-85c4-eec3b9c972ba" providerId="ADAL" clId="{81A95A3F-591B-4915-9F30-386F1902D115}" dt="2022-06-03T11:31:20.411" v="159"/>
          <ac:picMkLst>
            <pc:docMk/>
            <pc:sldMk cId="194201490" sldId="609"/>
            <ac:picMk id="2050" creationId="{14099719-B5ED-4364-AF7D-AE44FF30492B}"/>
          </ac:picMkLst>
        </pc:picChg>
        <pc:picChg chg="add mod">
          <ac:chgData name="Thomas Stensitzki" userId="75cafe6b-2f2a-469b-85c4-eec3b9c972ba" providerId="ADAL" clId="{81A95A3F-591B-4915-9F30-386F1902D115}" dt="2022-06-03T11:32:04.488" v="166" actId="1440"/>
          <ac:picMkLst>
            <pc:docMk/>
            <pc:sldMk cId="194201490" sldId="609"/>
            <ac:picMk id="2052" creationId="{9C95C39C-F5E5-4568-9B95-B8ABA61C8713}"/>
          </ac:picMkLst>
        </pc:picChg>
      </pc:sldChg>
      <pc:sldChg chg="addSp modSp new mod modNotesTx">
        <pc:chgData name="Thomas Stensitzki" userId="75cafe6b-2f2a-469b-85c4-eec3b9c972ba" providerId="ADAL" clId="{81A95A3F-591B-4915-9F30-386F1902D115}" dt="2022-06-03T11:35:17.087" v="204"/>
        <pc:sldMkLst>
          <pc:docMk/>
          <pc:sldMk cId="467678945" sldId="610"/>
        </pc:sldMkLst>
        <pc:spChg chg="mod">
          <ac:chgData name="Thomas Stensitzki" userId="75cafe6b-2f2a-469b-85c4-eec3b9c972ba" providerId="ADAL" clId="{81A95A3F-591B-4915-9F30-386F1902D115}" dt="2022-06-03T11:33:43.464" v="196"/>
          <ac:spMkLst>
            <pc:docMk/>
            <pc:sldMk cId="467678945" sldId="610"/>
            <ac:spMk id="2" creationId="{6E86C0DC-AEFC-4349-8AFA-C52ED533BD49}"/>
          </ac:spMkLst>
        </pc:spChg>
        <pc:spChg chg="mod">
          <ac:chgData name="Thomas Stensitzki" userId="75cafe6b-2f2a-469b-85c4-eec3b9c972ba" providerId="ADAL" clId="{81A95A3F-591B-4915-9F30-386F1902D115}" dt="2022-06-03T11:35:17.087" v="204"/>
          <ac:spMkLst>
            <pc:docMk/>
            <pc:sldMk cId="467678945" sldId="610"/>
            <ac:spMk id="3" creationId="{005936FB-5894-4392-9AEF-E720A753643C}"/>
          </ac:spMkLst>
        </pc:spChg>
        <pc:picChg chg="add mod">
          <ac:chgData name="Thomas Stensitzki" userId="75cafe6b-2f2a-469b-85c4-eec3b9c972ba" providerId="ADAL" clId="{81A95A3F-591B-4915-9F30-386F1902D115}" dt="2022-06-03T11:34:10.184" v="201" actId="1076"/>
          <ac:picMkLst>
            <pc:docMk/>
            <pc:sldMk cId="467678945" sldId="610"/>
            <ac:picMk id="3074" creationId="{BB654E81-73F6-4A1A-865A-04747296D430}"/>
          </ac:picMkLst>
        </pc:picChg>
      </pc:sldChg>
      <pc:sldChg chg="addSp delSp modSp new mod modClrScheme modAnim chgLayout">
        <pc:chgData name="Thomas Stensitzki" userId="75cafe6b-2f2a-469b-85c4-eec3b9c972ba" providerId="ADAL" clId="{81A95A3F-591B-4915-9F30-386F1902D115}" dt="2022-06-08T12:02:51.906" v="1248"/>
        <pc:sldMkLst>
          <pc:docMk/>
          <pc:sldMk cId="2119466313" sldId="611"/>
        </pc:sldMkLst>
        <pc:spChg chg="del mod ord">
          <ac:chgData name="Thomas Stensitzki" userId="75cafe6b-2f2a-469b-85c4-eec3b9c972ba" providerId="ADAL" clId="{81A95A3F-591B-4915-9F30-386F1902D115}" dt="2022-06-03T11:38:26.497" v="227" actId="700"/>
          <ac:spMkLst>
            <pc:docMk/>
            <pc:sldMk cId="2119466313" sldId="611"/>
            <ac:spMk id="2" creationId="{05FB6BB9-E0CA-4663-BF2F-1BA676339161}"/>
          </ac:spMkLst>
        </pc:spChg>
        <pc:spChg chg="del">
          <ac:chgData name="Thomas Stensitzki" userId="75cafe6b-2f2a-469b-85c4-eec3b9c972ba" providerId="ADAL" clId="{81A95A3F-591B-4915-9F30-386F1902D115}" dt="2022-06-03T11:38:26.497" v="227" actId="700"/>
          <ac:spMkLst>
            <pc:docMk/>
            <pc:sldMk cId="2119466313" sldId="611"/>
            <ac:spMk id="3" creationId="{62940AA6-9BCC-4371-B675-F7573118EB0F}"/>
          </ac:spMkLst>
        </pc:spChg>
        <pc:spChg chg="del">
          <ac:chgData name="Thomas Stensitzki" userId="75cafe6b-2f2a-469b-85c4-eec3b9c972ba" providerId="ADAL" clId="{81A95A3F-591B-4915-9F30-386F1902D115}" dt="2022-06-03T11:38:26.497" v="227" actId="700"/>
          <ac:spMkLst>
            <pc:docMk/>
            <pc:sldMk cId="2119466313" sldId="611"/>
            <ac:spMk id="4" creationId="{1EBD7387-038C-41BA-BF75-5A64D82412BB}"/>
          </ac:spMkLst>
        </pc:spChg>
        <pc:spChg chg="add mod ord">
          <ac:chgData name="Thomas Stensitzki" userId="75cafe6b-2f2a-469b-85c4-eec3b9c972ba" providerId="ADAL" clId="{81A95A3F-591B-4915-9F30-386F1902D115}" dt="2022-06-08T09:15:54.911" v="275"/>
          <ac:spMkLst>
            <pc:docMk/>
            <pc:sldMk cId="2119466313" sldId="611"/>
            <ac:spMk id="5" creationId="{2B92FCBD-7127-4725-814A-DA80AEE5246E}"/>
          </ac:spMkLst>
        </pc:spChg>
        <pc:picChg chg="add mod">
          <ac:chgData name="Thomas Stensitzki" userId="75cafe6b-2f2a-469b-85c4-eec3b9c972ba" providerId="ADAL" clId="{81A95A3F-591B-4915-9F30-386F1902D115}" dt="2022-06-08T09:16:05.191" v="278" actId="1440"/>
          <ac:picMkLst>
            <pc:docMk/>
            <pc:sldMk cId="2119466313" sldId="611"/>
            <ac:picMk id="4098" creationId="{9443BC3D-5AB1-4FD2-88E1-B6335E0D4298}"/>
          </ac:picMkLst>
        </pc:picChg>
      </pc:sldChg>
      <pc:sldChg chg="modSp add mod ord">
        <pc:chgData name="Thomas Stensitzki" userId="75cafe6b-2f2a-469b-85c4-eec3b9c972ba" providerId="ADAL" clId="{81A95A3F-591B-4915-9F30-386F1902D115}" dt="2022-06-08T11:55:15.780" v="1012" actId="1076"/>
        <pc:sldMkLst>
          <pc:docMk/>
          <pc:sldMk cId="3453821184" sldId="612"/>
        </pc:sldMkLst>
        <pc:spChg chg="mod">
          <ac:chgData name="Thomas Stensitzki" userId="75cafe6b-2f2a-469b-85c4-eec3b9c972ba" providerId="ADAL" clId="{81A95A3F-591B-4915-9F30-386F1902D115}" dt="2022-06-08T11:55:15.780" v="1012" actId="1076"/>
          <ac:spMkLst>
            <pc:docMk/>
            <pc:sldMk cId="3453821184" sldId="612"/>
            <ac:spMk id="2" creationId="{909DC09D-B9A6-4493-9A72-1CA7ECB1F5CA}"/>
          </ac:spMkLst>
        </pc:spChg>
        <pc:spChg chg="mod">
          <ac:chgData name="Thomas Stensitzki" userId="75cafe6b-2f2a-469b-85c4-eec3b9c972ba" providerId="ADAL" clId="{81A95A3F-591B-4915-9F30-386F1902D115}" dt="2022-06-08T09:20:38.431" v="380"/>
          <ac:spMkLst>
            <pc:docMk/>
            <pc:sldMk cId="3453821184" sldId="612"/>
            <ac:spMk id="5" creationId="{C24DACB5-1BEC-4C86-9652-BAFD8DE56FEF}"/>
          </ac:spMkLst>
        </pc:spChg>
      </pc:sldChg>
      <pc:sldChg chg="addSp delSp modSp new mod modClrScheme chgLayout modNotesTx">
        <pc:chgData name="Thomas Stensitzki" userId="75cafe6b-2f2a-469b-85c4-eec3b9c972ba" providerId="ADAL" clId="{81A95A3F-591B-4915-9F30-386F1902D115}" dt="2022-06-03T11:41:19.855" v="238"/>
        <pc:sldMkLst>
          <pc:docMk/>
          <pc:sldMk cId="1137647844" sldId="613"/>
        </pc:sldMkLst>
        <pc:spChg chg="del mod ord">
          <ac:chgData name="Thomas Stensitzki" userId="75cafe6b-2f2a-469b-85c4-eec3b9c972ba" providerId="ADAL" clId="{81A95A3F-591B-4915-9F30-386F1902D115}" dt="2022-06-03T11:40:47.456" v="235" actId="700"/>
          <ac:spMkLst>
            <pc:docMk/>
            <pc:sldMk cId="1137647844" sldId="613"/>
            <ac:spMk id="2" creationId="{55CF984F-34BD-4789-9427-E4BA0C81FD7A}"/>
          </ac:spMkLst>
        </pc:spChg>
        <pc:spChg chg="add mod ord">
          <ac:chgData name="Thomas Stensitzki" userId="75cafe6b-2f2a-469b-85c4-eec3b9c972ba" providerId="ADAL" clId="{81A95A3F-591B-4915-9F30-386F1902D115}" dt="2022-06-03T11:40:49.631" v="236"/>
          <ac:spMkLst>
            <pc:docMk/>
            <pc:sldMk cId="1137647844" sldId="613"/>
            <ac:spMk id="3" creationId="{5983D398-5001-4E05-A912-D1F3389FF724}"/>
          </ac:spMkLst>
        </pc:spChg>
        <pc:spChg chg="add mod ord">
          <ac:chgData name="Thomas Stensitzki" userId="75cafe6b-2f2a-469b-85c4-eec3b9c972ba" providerId="ADAL" clId="{81A95A3F-591B-4915-9F30-386F1902D115}" dt="2022-06-03T11:40:58.848" v="237"/>
          <ac:spMkLst>
            <pc:docMk/>
            <pc:sldMk cId="1137647844" sldId="613"/>
            <ac:spMk id="4" creationId="{CE240E77-CC1A-4FF7-A490-029A8045EADD}"/>
          </ac:spMkLst>
        </pc:spChg>
      </pc:sldChg>
      <pc:sldChg chg="addSp delSp modSp new mod modClrScheme modAnim chgLayout">
        <pc:chgData name="Thomas Stensitzki" userId="75cafe6b-2f2a-469b-85c4-eec3b9c972ba" providerId="ADAL" clId="{81A95A3F-591B-4915-9F30-386F1902D115}" dt="2022-06-08T12:02:58.505" v="1250"/>
        <pc:sldMkLst>
          <pc:docMk/>
          <pc:sldMk cId="1503137777" sldId="614"/>
        </pc:sldMkLst>
        <pc:spChg chg="mod ord">
          <ac:chgData name="Thomas Stensitzki" userId="75cafe6b-2f2a-469b-85c4-eec3b9c972ba" providerId="ADAL" clId="{81A95A3F-591B-4915-9F30-386F1902D115}" dt="2022-06-03T11:42:34.337" v="243" actId="700"/>
          <ac:spMkLst>
            <pc:docMk/>
            <pc:sldMk cId="1503137777" sldId="614"/>
            <ac:spMk id="2" creationId="{8F0EE741-1AA9-4E98-9676-69EE83AA3E40}"/>
          </ac:spMkLst>
        </pc:spChg>
        <pc:spChg chg="del">
          <ac:chgData name="Thomas Stensitzki" userId="75cafe6b-2f2a-469b-85c4-eec3b9c972ba" providerId="ADAL" clId="{81A95A3F-591B-4915-9F30-386F1902D115}" dt="2022-06-03T11:42:34.337" v="243" actId="700"/>
          <ac:spMkLst>
            <pc:docMk/>
            <pc:sldMk cId="1503137777" sldId="614"/>
            <ac:spMk id="3" creationId="{7EAE8079-A3A0-4F89-BD4A-57444D34D93D}"/>
          </ac:spMkLst>
        </pc:spChg>
        <pc:picChg chg="add mod">
          <ac:chgData name="Thomas Stensitzki" userId="75cafe6b-2f2a-469b-85c4-eec3b9c972ba" providerId="ADAL" clId="{81A95A3F-591B-4915-9F30-386F1902D115}" dt="2022-06-03T11:42:55.544" v="247" actId="1440"/>
          <ac:picMkLst>
            <pc:docMk/>
            <pc:sldMk cId="1503137777" sldId="614"/>
            <ac:picMk id="5122" creationId="{BE8BE44B-832F-457E-A4D6-B34B9F6B3A31}"/>
          </ac:picMkLst>
        </pc:picChg>
      </pc:sldChg>
      <pc:sldChg chg="addSp delSp modSp add mod modAnim">
        <pc:chgData name="Thomas Stensitzki" userId="75cafe6b-2f2a-469b-85c4-eec3b9c972ba" providerId="ADAL" clId="{81A95A3F-591B-4915-9F30-386F1902D115}" dt="2022-06-08T12:04:40.484" v="1267" actId="1035"/>
        <pc:sldMkLst>
          <pc:docMk/>
          <pc:sldMk cId="1055936327" sldId="615"/>
        </pc:sldMkLst>
        <pc:spChg chg="mod">
          <ac:chgData name="Thomas Stensitzki" userId="75cafe6b-2f2a-469b-85c4-eec3b9c972ba" providerId="ADAL" clId="{81A95A3F-591B-4915-9F30-386F1902D115}" dt="2022-06-08T09:13:34.161" v="251"/>
          <ac:spMkLst>
            <pc:docMk/>
            <pc:sldMk cId="1055936327" sldId="615"/>
            <ac:spMk id="2" creationId="{8F0EE741-1AA9-4E98-9676-69EE83AA3E40}"/>
          </ac:spMkLst>
        </pc:spChg>
        <pc:spChg chg="add mod">
          <ac:chgData name="Thomas Stensitzki" userId="75cafe6b-2f2a-469b-85c4-eec3b9c972ba" providerId="ADAL" clId="{81A95A3F-591B-4915-9F30-386F1902D115}" dt="2022-06-08T12:04:40.484" v="1267" actId="1035"/>
          <ac:spMkLst>
            <pc:docMk/>
            <pc:sldMk cId="1055936327" sldId="615"/>
            <ac:spMk id="3" creationId="{AB3DB976-C90F-4091-87CF-40163DF71AFA}"/>
          </ac:spMkLst>
        </pc:spChg>
        <pc:picChg chg="add mod">
          <ac:chgData name="Thomas Stensitzki" userId="75cafe6b-2f2a-469b-85c4-eec3b9c972ba" providerId="ADAL" clId="{81A95A3F-591B-4915-9F30-386F1902D115}" dt="2022-06-08T12:04:14.344" v="1263" actId="167"/>
          <ac:picMkLst>
            <pc:docMk/>
            <pc:sldMk cId="1055936327" sldId="615"/>
            <ac:picMk id="1026" creationId="{7B51AD3F-B2C5-40C2-A1B0-148EC98E9697}"/>
          </ac:picMkLst>
        </pc:picChg>
        <pc:picChg chg="add mod">
          <ac:chgData name="Thomas Stensitzki" userId="75cafe6b-2f2a-469b-85c4-eec3b9c972ba" providerId="ADAL" clId="{81A95A3F-591B-4915-9F30-386F1902D115}" dt="2022-06-08T12:04:23.224" v="1264" actId="166"/>
          <ac:picMkLst>
            <pc:docMk/>
            <pc:sldMk cId="1055936327" sldId="615"/>
            <ac:picMk id="1028" creationId="{CE471663-B43B-4113-A916-DCC9088EAFED}"/>
          </ac:picMkLst>
        </pc:picChg>
        <pc:picChg chg="add mod">
          <ac:chgData name="Thomas Stensitzki" userId="75cafe6b-2f2a-469b-85c4-eec3b9c972ba" providerId="ADAL" clId="{81A95A3F-591B-4915-9F30-386F1902D115}" dt="2022-06-08T12:04:26.013" v="1265" actId="166"/>
          <ac:picMkLst>
            <pc:docMk/>
            <pc:sldMk cId="1055936327" sldId="615"/>
            <ac:picMk id="1030" creationId="{55623FF3-B572-4046-968C-52BEC1710B74}"/>
          </ac:picMkLst>
        </pc:picChg>
        <pc:picChg chg="add mod">
          <ac:chgData name="Thomas Stensitzki" userId="75cafe6b-2f2a-469b-85c4-eec3b9c972ba" providerId="ADAL" clId="{81A95A3F-591B-4915-9F30-386F1902D115}" dt="2022-06-08T09:15:15.265" v="274" actId="1440"/>
          <ac:picMkLst>
            <pc:docMk/>
            <pc:sldMk cId="1055936327" sldId="615"/>
            <ac:picMk id="1032" creationId="{A2A89887-1B80-4358-8DAF-1FE056BD8360}"/>
          </ac:picMkLst>
        </pc:picChg>
        <pc:picChg chg="del">
          <ac:chgData name="Thomas Stensitzki" userId="75cafe6b-2f2a-469b-85c4-eec3b9c972ba" providerId="ADAL" clId="{81A95A3F-591B-4915-9F30-386F1902D115}" dt="2022-06-08T09:13:41.683" v="252" actId="478"/>
          <ac:picMkLst>
            <pc:docMk/>
            <pc:sldMk cId="1055936327" sldId="615"/>
            <ac:picMk id="5122" creationId="{BE8BE44B-832F-457E-A4D6-B34B9F6B3A31}"/>
          </ac:picMkLst>
        </pc:picChg>
      </pc:sldChg>
      <pc:sldChg chg="addSp delSp modSp add mod ord modAnim">
        <pc:chgData name="Thomas Stensitzki" userId="75cafe6b-2f2a-469b-85c4-eec3b9c972ba" providerId="ADAL" clId="{81A95A3F-591B-4915-9F30-386F1902D115}" dt="2022-06-08T12:04:48.800" v="1269"/>
        <pc:sldMkLst>
          <pc:docMk/>
          <pc:sldMk cId="3478201021" sldId="616"/>
        </pc:sldMkLst>
        <pc:spChg chg="mod">
          <ac:chgData name="Thomas Stensitzki" userId="75cafe6b-2f2a-469b-85c4-eec3b9c972ba" providerId="ADAL" clId="{81A95A3F-591B-4915-9F30-386F1902D115}" dt="2022-06-08T09:16:52.719" v="284"/>
          <ac:spMkLst>
            <pc:docMk/>
            <pc:sldMk cId="3478201021" sldId="616"/>
            <ac:spMk id="2" creationId="{8F0EE741-1AA9-4E98-9676-69EE83AA3E40}"/>
          </ac:spMkLst>
        </pc:spChg>
        <pc:picChg chg="add mod">
          <ac:chgData name="Thomas Stensitzki" userId="75cafe6b-2f2a-469b-85c4-eec3b9c972ba" providerId="ADAL" clId="{81A95A3F-591B-4915-9F30-386F1902D115}" dt="2022-06-08T09:17:07.579" v="289" actId="1440"/>
          <ac:picMkLst>
            <pc:docMk/>
            <pc:sldMk cId="3478201021" sldId="616"/>
            <ac:picMk id="2050" creationId="{C92D798A-325B-4FD1-BE5A-A55EC7938F3A}"/>
          </ac:picMkLst>
        </pc:picChg>
        <pc:picChg chg="del">
          <ac:chgData name="Thomas Stensitzki" userId="75cafe6b-2f2a-469b-85c4-eec3b9c972ba" providerId="ADAL" clId="{81A95A3F-591B-4915-9F30-386F1902D115}" dt="2022-06-08T09:16:54.280" v="285" actId="478"/>
          <ac:picMkLst>
            <pc:docMk/>
            <pc:sldMk cId="3478201021" sldId="616"/>
            <ac:picMk id="5122" creationId="{BE8BE44B-832F-457E-A4D6-B34B9F6B3A31}"/>
          </ac:picMkLst>
        </pc:picChg>
      </pc:sldChg>
      <pc:sldChg chg="addSp delSp modSp add mod modAnim">
        <pc:chgData name="Thomas Stensitzki" userId="75cafe6b-2f2a-469b-85c4-eec3b9c972ba" providerId="ADAL" clId="{81A95A3F-591B-4915-9F30-386F1902D115}" dt="2022-06-08T12:04:54.800" v="1271"/>
        <pc:sldMkLst>
          <pc:docMk/>
          <pc:sldMk cId="3437431207" sldId="617"/>
        </pc:sldMkLst>
        <pc:spChg chg="mod">
          <ac:chgData name="Thomas Stensitzki" userId="75cafe6b-2f2a-469b-85c4-eec3b9c972ba" providerId="ADAL" clId="{81A95A3F-591B-4915-9F30-386F1902D115}" dt="2022-06-08T09:19:49.535" v="372"/>
          <ac:spMkLst>
            <pc:docMk/>
            <pc:sldMk cId="3437431207" sldId="617"/>
            <ac:spMk id="2" creationId="{8F0EE741-1AA9-4E98-9676-69EE83AA3E40}"/>
          </ac:spMkLst>
        </pc:spChg>
        <pc:picChg chg="del">
          <ac:chgData name="Thomas Stensitzki" userId="75cafe6b-2f2a-469b-85c4-eec3b9c972ba" providerId="ADAL" clId="{81A95A3F-591B-4915-9F30-386F1902D115}" dt="2022-06-08T09:19:51.683" v="373" actId="478"/>
          <ac:picMkLst>
            <pc:docMk/>
            <pc:sldMk cId="3437431207" sldId="617"/>
            <ac:picMk id="2050" creationId="{C92D798A-325B-4FD1-BE5A-A55EC7938F3A}"/>
          </ac:picMkLst>
        </pc:picChg>
        <pc:picChg chg="add mod">
          <ac:chgData name="Thomas Stensitzki" userId="75cafe6b-2f2a-469b-85c4-eec3b9c972ba" providerId="ADAL" clId="{81A95A3F-591B-4915-9F30-386F1902D115}" dt="2022-06-08T09:20:08.122" v="377" actId="1440"/>
          <ac:picMkLst>
            <pc:docMk/>
            <pc:sldMk cId="3437431207" sldId="617"/>
            <ac:picMk id="3074" creationId="{F6D3B784-236A-4E1B-B6AA-B8520973F983}"/>
          </ac:picMkLst>
        </pc:picChg>
      </pc:sldChg>
      <pc:sldChg chg="modSp add mod modAnim">
        <pc:chgData name="Thomas Stensitzki" userId="75cafe6b-2f2a-469b-85c4-eec3b9c972ba" providerId="ADAL" clId="{81A95A3F-591B-4915-9F30-386F1902D115}" dt="2022-06-08T12:05:03.358" v="1273"/>
        <pc:sldMkLst>
          <pc:docMk/>
          <pc:sldMk cId="891073797" sldId="618"/>
        </pc:sldMkLst>
        <pc:spChg chg="mod">
          <ac:chgData name="Thomas Stensitzki" userId="75cafe6b-2f2a-469b-85c4-eec3b9c972ba" providerId="ADAL" clId="{81A95A3F-591B-4915-9F30-386F1902D115}" dt="2022-06-08T09:20:49.256" v="382"/>
          <ac:spMkLst>
            <pc:docMk/>
            <pc:sldMk cId="891073797" sldId="618"/>
            <ac:spMk id="2" creationId="{8F0EE741-1AA9-4E98-9676-69EE83AA3E40}"/>
          </ac:spMkLst>
        </pc:spChg>
        <pc:picChg chg="mod">
          <ac:chgData name="Thomas Stensitzki" userId="75cafe6b-2f2a-469b-85c4-eec3b9c972ba" providerId="ADAL" clId="{81A95A3F-591B-4915-9F30-386F1902D115}" dt="2022-06-08T09:21:05.652" v="385" actId="1076"/>
          <ac:picMkLst>
            <pc:docMk/>
            <pc:sldMk cId="891073797" sldId="618"/>
            <ac:picMk id="3074" creationId="{F6D3B784-236A-4E1B-B6AA-B8520973F983}"/>
          </ac:picMkLst>
        </pc:picChg>
      </pc:sldChg>
      <pc:sldChg chg="modSp add mod ord">
        <pc:chgData name="Thomas Stensitzki" userId="75cafe6b-2f2a-469b-85c4-eec3b9c972ba" providerId="ADAL" clId="{81A95A3F-591B-4915-9F30-386F1902D115}" dt="2022-06-08T11:59:27.476" v="1181" actId="14100"/>
        <pc:sldMkLst>
          <pc:docMk/>
          <pc:sldMk cId="2883104128" sldId="619"/>
        </pc:sldMkLst>
        <pc:spChg chg="mod">
          <ac:chgData name="Thomas Stensitzki" userId="75cafe6b-2f2a-469b-85c4-eec3b9c972ba" providerId="ADAL" clId="{81A95A3F-591B-4915-9F30-386F1902D115}" dt="2022-06-08T11:59:27.476" v="1181" actId="14100"/>
          <ac:spMkLst>
            <pc:docMk/>
            <pc:sldMk cId="2883104128" sldId="619"/>
            <ac:spMk id="2" creationId="{909DC09D-B9A6-4493-9A72-1CA7ECB1F5CA}"/>
          </ac:spMkLst>
        </pc:spChg>
        <pc:spChg chg="mod">
          <ac:chgData name="Thomas Stensitzki" userId="75cafe6b-2f2a-469b-85c4-eec3b9c972ba" providerId="ADAL" clId="{81A95A3F-591B-4915-9F30-386F1902D115}" dt="2022-06-08T11:53:26.725" v="943" actId="108"/>
          <ac:spMkLst>
            <pc:docMk/>
            <pc:sldMk cId="2883104128" sldId="619"/>
            <ac:spMk id="5" creationId="{C24DACB5-1BEC-4C86-9652-BAFD8DE56FEF}"/>
          </ac:spMkLst>
        </pc:spChg>
      </pc:sldChg>
      <pc:sldChg chg="addSp delSp modSp add mod ord modAnim">
        <pc:chgData name="Thomas Stensitzki" userId="75cafe6b-2f2a-469b-85c4-eec3b9c972ba" providerId="ADAL" clId="{81A95A3F-591B-4915-9F30-386F1902D115}" dt="2022-06-08T12:05:41.139" v="1280"/>
        <pc:sldMkLst>
          <pc:docMk/>
          <pc:sldMk cId="1449374427" sldId="620"/>
        </pc:sldMkLst>
        <pc:spChg chg="mod">
          <ac:chgData name="Thomas Stensitzki" userId="75cafe6b-2f2a-469b-85c4-eec3b9c972ba" providerId="ADAL" clId="{81A95A3F-591B-4915-9F30-386F1902D115}" dt="2022-06-08T09:24:34.210" v="430"/>
          <ac:spMkLst>
            <pc:docMk/>
            <pc:sldMk cId="1449374427" sldId="620"/>
            <ac:spMk id="2" creationId="{8F0EE741-1AA9-4E98-9676-69EE83AA3E40}"/>
          </ac:spMkLst>
        </pc:spChg>
        <pc:picChg chg="del">
          <ac:chgData name="Thomas Stensitzki" userId="75cafe6b-2f2a-469b-85c4-eec3b9c972ba" providerId="ADAL" clId="{81A95A3F-591B-4915-9F30-386F1902D115}" dt="2022-06-08T09:24:10.983" v="427" actId="478"/>
          <ac:picMkLst>
            <pc:docMk/>
            <pc:sldMk cId="1449374427" sldId="620"/>
            <ac:picMk id="3074" creationId="{F6D3B784-236A-4E1B-B6AA-B8520973F983}"/>
          </ac:picMkLst>
        </pc:picChg>
        <pc:picChg chg="add mod">
          <ac:chgData name="Thomas Stensitzki" userId="75cafe6b-2f2a-469b-85c4-eec3b9c972ba" providerId="ADAL" clId="{81A95A3F-591B-4915-9F30-386F1902D115}" dt="2022-06-08T09:25:22.675" v="443" actId="1076"/>
          <ac:picMkLst>
            <pc:docMk/>
            <pc:sldMk cId="1449374427" sldId="620"/>
            <ac:picMk id="4098" creationId="{035D4B07-EC58-4E0F-A747-3538FC2C6ACE}"/>
          </ac:picMkLst>
        </pc:picChg>
        <pc:picChg chg="add mod">
          <ac:chgData name="Thomas Stensitzki" userId="75cafe6b-2f2a-469b-85c4-eec3b9c972ba" providerId="ADAL" clId="{81A95A3F-591B-4915-9F30-386F1902D115}" dt="2022-06-08T09:25:25.832" v="455" actId="1035"/>
          <ac:picMkLst>
            <pc:docMk/>
            <pc:sldMk cId="1449374427" sldId="620"/>
            <ac:picMk id="4100" creationId="{164A1FF4-ED82-4AE6-85A5-C5D80791A8A4}"/>
          </ac:picMkLst>
        </pc:picChg>
        <pc:picChg chg="add mod">
          <ac:chgData name="Thomas Stensitzki" userId="75cafe6b-2f2a-469b-85c4-eec3b9c972ba" providerId="ADAL" clId="{81A95A3F-591B-4915-9F30-386F1902D115}" dt="2022-06-08T09:25:17.088" v="441" actId="1076"/>
          <ac:picMkLst>
            <pc:docMk/>
            <pc:sldMk cId="1449374427" sldId="620"/>
            <ac:picMk id="4102" creationId="{57E02677-6381-4E35-AE95-2973DF59F868}"/>
          </ac:picMkLst>
        </pc:picChg>
        <pc:picChg chg="add mod">
          <ac:chgData name="Thomas Stensitzki" userId="75cafe6b-2f2a-469b-85c4-eec3b9c972ba" providerId="ADAL" clId="{81A95A3F-591B-4915-9F30-386F1902D115}" dt="2022-06-08T09:25:11.778" v="440" actId="1076"/>
          <ac:picMkLst>
            <pc:docMk/>
            <pc:sldMk cId="1449374427" sldId="620"/>
            <ac:picMk id="4104" creationId="{7EF6F09E-B2AB-4322-83D9-B69B948FFFB1}"/>
          </ac:picMkLst>
        </pc:picChg>
      </pc:sldChg>
      <pc:sldChg chg="addSp delSp modSp add mod modAnim">
        <pc:chgData name="Thomas Stensitzki" userId="75cafe6b-2f2a-469b-85c4-eec3b9c972ba" providerId="ADAL" clId="{81A95A3F-591B-4915-9F30-386F1902D115}" dt="2022-06-08T12:06:09.907" v="1282"/>
        <pc:sldMkLst>
          <pc:docMk/>
          <pc:sldMk cId="4271250423" sldId="621"/>
        </pc:sldMkLst>
        <pc:spChg chg="mod">
          <ac:chgData name="Thomas Stensitzki" userId="75cafe6b-2f2a-469b-85c4-eec3b9c972ba" providerId="ADAL" clId="{81A95A3F-591B-4915-9F30-386F1902D115}" dt="2022-06-08T09:26:46.053" v="481"/>
          <ac:spMkLst>
            <pc:docMk/>
            <pc:sldMk cId="4271250423" sldId="621"/>
            <ac:spMk id="2" creationId="{8F0EE741-1AA9-4E98-9676-69EE83AA3E40}"/>
          </ac:spMkLst>
        </pc:spChg>
        <pc:picChg chg="del">
          <ac:chgData name="Thomas Stensitzki" userId="75cafe6b-2f2a-469b-85c4-eec3b9c972ba" providerId="ADAL" clId="{81A95A3F-591B-4915-9F30-386F1902D115}" dt="2022-06-08T09:26:51.082" v="482" actId="478"/>
          <ac:picMkLst>
            <pc:docMk/>
            <pc:sldMk cId="4271250423" sldId="621"/>
            <ac:picMk id="4098" creationId="{035D4B07-EC58-4E0F-A747-3538FC2C6ACE}"/>
          </ac:picMkLst>
        </pc:picChg>
        <pc:picChg chg="del">
          <ac:chgData name="Thomas Stensitzki" userId="75cafe6b-2f2a-469b-85c4-eec3b9c972ba" providerId="ADAL" clId="{81A95A3F-591B-4915-9F30-386F1902D115}" dt="2022-06-08T09:26:51.082" v="482" actId="478"/>
          <ac:picMkLst>
            <pc:docMk/>
            <pc:sldMk cId="4271250423" sldId="621"/>
            <ac:picMk id="4100" creationId="{164A1FF4-ED82-4AE6-85A5-C5D80791A8A4}"/>
          </ac:picMkLst>
        </pc:picChg>
        <pc:picChg chg="del">
          <ac:chgData name="Thomas Stensitzki" userId="75cafe6b-2f2a-469b-85c4-eec3b9c972ba" providerId="ADAL" clId="{81A95A3F-591B-4915-9F30-386F1902D115}" dt="2022-06-08T09:26:51.082" v="482" actId="478"/>
          <ac:picMkLst>
            <pc:docMk/>
            <pc:sldMk cId="4271250423" sldId="621"/>
            <ac:picMk id="4102" creationId="{57E02677-6381-4E35-AE95-2973DF59F868}"/>
          </ac:picMkLst>
        </pc:picChg>
        <pc:picChg chg="del">
          <ac:chgData name="Thomas Stensitzki" userId="75cafe6b-2f2a-469b-85c4-eec3b9c972ba" providerId="ADAL" clId="{81A95A3F-591B-4915-9F30-386F1902D115}" dt="2022-06-08T09:26:51.082" v="482" actId="478"/>
          <ac:picMkLst>
            <pc:docMk/>
            <pc:sldMk cId="4271250423" sldId="621"/>
            <ac:picMk id="4104" creationId="{7EF6F09E-B2AB-4322-83D9-B69B948FFFB1}"/>
          </ac:picMkLst>
        </pc:picChg>
        <pc:picChg chg="add mod">
          <ac:chgData name="Thomas Stensitzki" userId="75cafe6b-2f2a-469b-85c4-eec3b9c972ba" providerId="ADAL" clId="{81A95A3F-591B-4915-9F30-386F1902D115}" dt="2022-06-08T09:27:01.145" v="485" actId="1076"/>
          <ac:picMkLst>
            <pc:docMk/>
            <pc:sldMk cId="4271250423" sldId="621"/>
            <ac:picMk id="5122" creationId="{2F599F29-DA65-47FC-A4FF-26B135C988D5}"/>
          </ac:picMkLst>
        </pc:picChg>
      </pc:sldChg>
      <pc:sldChg chg="addSp delSp modSp add mod modAnim">
        <pc:chgData name="Thomas Stensitzki" userId="75cafe6b-2f2a-469b-85c4-eec3b9c972ba" providerId="ADAL" clId="{81A95A3F-591B-4915-9F30-386F1902D115}" dt="2022-06-08T12:06:42.353" v="1290"/>
        <pc:sldMkLst>
          <pc:docMk/>
          <pc:sldMk cId="228228310" sldId="622"/>
        </pc:sldMkLst>
        <pc:spChg chg="mod">
          <ac:chgData name="Thomas Stensitzki" userId="75cafe6b-2f2a-469b-85c4-eec3b9c972ba" providerId="ADAL" clId="{81A95A3F-591B-4915-9F30-386F1902D115}" dt="2022-06-08T09:30:04.380" v="552" actId="20577"/>
          <ac:spMkLst>
            <pc:docMk/>
            <pc:sldMk cId="228228310" sldId="622"/>
            <ac:spMk id="2" creationId="{EC46AD28-746E-4246-884F-4DAE24C62042}"/>
          </ac:spMkLst>
        </pc:spChg>
        <pc:picChg chg="del">
          <ac:chgData name="Thomas Stensitzki" userId="75cafe6b-2f2a-469b-85c4-eec3b9c972ba" providerId="ADAL" clId="{81A95A3F-591B-4915-9F30-386F1902D115}" dt="2022-06-08T09:28:35.849" v="502" actId="478"/>
          <ac:picMkLst>
            <pc:docMk/>
            <pc:sldMk cId="228228310" sldId="622"/>
            <ac:picMk id="6146" creationId="{BEB228D0-D6CB-482E-981C-8BBE1B427912}"/>
          </ac:picMkLst>
        </pc:picChg>
        <pc:picChg chg="del">
          <ac:chgData name="Thomas Stensitzki" userId="75cafe6b-2f2a-469b-85c4-eec3b9c972ba" providerId="ADAL" clId="{81A95A3F-591B-4915-9F30-386F1902D115}" dt="2022-06-08T09:28:36.425" v="503" actId="478"/>
          <ac:picMkLst>
            <pc:docMk/>
            <pc:sldMk cId="228228310" sldId="622"/>
            <ac:picMk id="6148" creationId="{C73D027B-CA10-4632-9BCD-2A04C1CA1660}"/>
          </ac:picMkLst>
        </pc:picChg>
        <pc:picChg chg="add mod">
          <ac:chgData name="Thomas Stensitzki" userId="75cafe6b-2f2a-469b-85c4-eec3b9c972ba" providerId="ADAL" clId="{81A95A3F-591B-4915-9F30-386F1902D115}" dt="2022-06-08T09:29:32.539" v="517" actId="1440"/>
          <ac:picMkLst>
            <pc:docMk/>
            <pc:sldMk cId="228228310" sldId="622"/>
            <ac:picMk id="7170" creationId="{68AA8AAA-8E75-4E4C-825B-3AF8C539D81B}"/>
          </ac:picMkLst>
        </pc:picChg>
        <pc:picChg chg="add del mod">
          <ac:chgData name="Thomas Stensitzki" userId="75cafe6b-2f2a-469b-85c4-eec3b9c972ba" providerId="ADAL" clId="{81A95A3F-591B-4915-9F30-386F1902D115}" dt="2022-06-08T09:29:23.237" v="515" actId="478"/>
          <ac:picMkLst>
            <pc:docMk/>
            <pc:sldMk cId="228228310" sldId="622"/>
            <ac:picMk id="7172" creationId="{B62C4D70-8E1B-4FAE-AD81-48B98BF24B37}"/>
          </ac:picMkLst>
        </pc:picChg>
      </pc:sldChg>
      <pc:sldChg chg="addSp delSp modSp add mod modAnim">
        <pc:chgData name="Thomas Stensitzki" userId="75cafe6b-2f2a-469b-85c4-eec3b9c972ba" providerId="ADAL" clId="{81A95A3F-591B-4915-9F30-386F1902D115}" dt="2022-06-08T12:06:48.956" v="1293"/>
        <pc:sldMkLst>
          <pc:docMk/>
          <pc:sldMk cId="2858615882" sldId="623"/>
        </pc:sldMkLst>
        <pc:spChg chg="mod">
          <ac:chgData name="Thomas Stensitzki" userId="75cafe6b-2f2a-469b-85c4-eec3b9c972ba" providerId="ADAL" clId="{81A95A3F-591B-4915-9F30-386F1902D115}" dt="2022-06-08T09:29:55.495" v="548" actId="20577"/>
          <ac:spMkLst>
            <pc:docMk/>
            <pc:sldMk cId="2858615882" sldId="623"/>
            <ac:spMk id="2" creationId="{EC46AD28-746E-4246-884F-4DAE24C62042}"/>
          </ac:spMkLst>
        </pc:spChg>
        <pc:picChg chg="del">
          <ac:chgData name="Thomas Stensitzki" userId="75cafe6b-2f2a-469b-85c4-eec3b9c972ba" providerId="ADAL" clId="{81A95A3F-591B-4915-9F30-386F1902D115}" dt="2022-06-08T09:29:57.825" v="549" actId="478"/>
          <ac:picMkLst>
            <pc:docMk/>
            <pc:sldMk cId="2858615882" sldId="623"/>
            <ac:picMk id="7170" creationId="{68AA8AAA-8E75-4E4C-825B-3AF8C539D81B}"/>
          </ac:picMkLst>
        </pc:picChg>
        <pc:picChg chg="mod">
          <ac:chgData name="Thomas Stensitzki" userId="75cafe6b-2f2a-469b-85c4-eec3b9c972ba" providerId="ADAL" clId="{81A95A3F-591B-4915-9F30-386F1902D115}" dt="2022-06-08T09:30:27.462" v="559" actId="1440"/>
          <ac:picMkLst>
            <pc:docMk/>
            <pc:sldMk cId="2858615882" sldId="623"/>
            <ac:picMk id="7172" creationId="{B62C4D70-8E1B-4FAE-AD81-48B98BF24B37}"/>
          </ac:picMkLst>
        </pc:picChg>
        <pc:picChg chg="add mod">
          <ac:chgData name="Thomas Stensitzki" userId="75cafe6b-2f2a-469b-85c4-eec3b9c972ba" providerId="ADAL" clId="{81A95A3F-591B-4915-9F30-386F1902D115}" dt="2022-06-08T09:30:25.934" v="558" actId="1440"/>
          <ac:picMkLst>
            <pc:docMk/>
            <pc:sldMk cId="2858615882" sldId="623"/>
            <ac:picMk id="8194" creationId="{2173D17A-A0D4-4042-8DC4-368B41CDD94E}"/>
          </ac:picMkLst>
        </pc:picChg>
      </pc:sldChg>
      <pc:sldChg chg="addSp delSp modSp add mod modAnim">
        <pc:chgData name="Thomas Stensitzki" userId="75cafe6b-2f2a-469b-85c4-eec3b9c972ba" providerId="ADAL" clId="{81A95A3F-591B-4915-9F30-386F1902D115}" dt="2022-06-08T12:06:56.502" v="1296"/>
        <pc:sldMkLst>
          <pc:docMk/>
          <pc:sldMk cId="1458805602" sldId="624"/>
        </pc:sldMkLst>
        <pc:spChg chg="mod">
          <ac:chgData name="Thomas Stensitzki" userId="75cafe6b-2f2a-469b-85c4-eec3b9c972ba" providerId="ADAL" clId="{81A95A3F-591B-4915-9F30-386F1902D115}" dt="2022-06-08T09:36:35.235" v="607"/>
          <ac:spMkLst>
            <pc:docMk/>
            <pc:sldMk cId="1458805602" sldId="624"/>
            <ac:spMk id="2" creationId="{EC46AD28-746E-4246-884F-4DAE24C62042}"/>
          </ac:spMkLst>
        </pc:spChg>
        <pc:picChg chg="del">
          <ac:chgData name="Thomas Stensitzki" userId="75cafe6b-2f2a-469b-85c4-eec3b9c972ba" providerId="ADAL" clId="{81A95A3F-591B-4915-9F30-386F1902D115}" dt="2022-06-08T09:36:36.794" v="608" actId="478"/>
          <ac:picMkLst>
            <pc:docMk/>
            <pc:sldMk cId="1458805602" sldId="624"/>
            <ac:picMk id="7172" creationId="{B62C4D70-8E1B-4FAE-AD81-48B98BF24B37}"/>
          </ac:picMkLst>
        </pc:picChg>
        <pc:picChg chg="del">
          <ac:chgData name="Thomas Stensitzki" userId="75cafe6b-2f2a-469b-85c4-eec3b9c972ba" providerId="ADAL" clId="{81A95A3F-591B-4915-9F30-386F1902D115}" dt="2022-06-08T09:36:37.310" v="609" actId="478"/>
          <ac:picMkLst>
            <pc:docMk/>
            <pc:sldMk cId="1458805602" sldId="624"/>
            <ac:picMk id="8194" creationId="{2173D17A-A0D4-4042-8DC4-368B41CDD94E}"/>
          </ac:picMkLst>
        </pc:picChg>
        <pc:picChg chg="add mod">
          <ac:chgData name="Thomas Stensitzki" userId="75cafe6b-2f2a-469b-85c4-eec3b9c972ba" providerId="ADAL" clId="{81A95A3F-591B-4915-9F30-386F1902D115}" dt="2022-06-08T09:36:50.132" v="613" actId="1440"/>
          <ac:picMkLst>
            <pc:docMk/>
            <pc:sldMk cId="1458805602" sldId="624"/>
            <ac:picMk id="9218" creationId="{50A1BB1A-7CF3-4EE3-BF1B-75BF050379F1}"/>
          </ac:picMkLst>
        </pc:picChg>
        <pc:picChg chg="add mod">
          <ac:chgData name="Thomas Stensitzki" userId="75cafe6b-2f2a-469b-85c4-eec3b9c972ba" providerId="ADAL" clId="{81A95A3F-591B-4915-9F30-386F1902D115}" dt="2022-06-08T09:37:06.841" v="617" actId="1440"/>
          <ac:picMkLst>
            <pc:docMk/>
            <pc:sldMk cId="1458805602" sldId="624"/>
            <ac:picMk id="9220" creationId="{E7B6F32E-25BC-4900-91D4-DADC692AA612}"/>
          </ac:picMkLst>
        </pc:picChg>
      </pc:sldChg>
      <pc:sldChg chg="modSp add mod ord">
        <pc:chgData name="Thomas Stensitzki" userId="75cafe6b-2f2a-469b-85c4-eec3b9c972ba" providerId="ADAL" clId="{81A95A3F-591B-4915-9F30-386F1902D115}" dt="2022-06-08T12:00:37.745" v="1221" actId="1076"/>
        <pc:sldMkLst>
          <pc:docMk/>
          <pc:sldMk cId="772649472" sldId="625"/>
        </pc:sldMkLst>
        <pc:spChg chg="mod">
          <ac:chgData name="Thomas Stensitzki" userId="75cafe6b-2f2a-469b-85c4-eec3b9c972ba" providerId="ADAL" clId="{81A95A3F-591B-4915-9F30-386F1902D115}" dt="2022-06-08T12:00:37.745" v="1221" actId="1076"/>
          <ac:spMkLst>
            <pc:docMk/>
            <pc:sldMk cId="772649472" sldId="625"/>
            <ac:spMk id="2" creationId="{909DC09D-B9A6-4493-9A72-1CA7ECB1F5CA}"/>
          </ac:spMkLst>
        </pc:spChg>
        <pc:spChg chg="mod">
          <ac:chgData name="Thomas Stensitzki" userId="75cafe6b-2f2a-469b-85c4-eec3b9c972ba" providerId="ADAL" clId="{81A95A3F-591B-4915-9F30-386F1902D115}" dt="2022-06-08T09:40:01.035" v="651" actId="20577"/>
          <ac:spMkLst>
            <pc:docMk/>
            <pc:sldMk cId="772649472" sldId="625"/>
            <ac:spMk id="5" creationId="{C24DACB5-1BEC-4C86-9652-BAFD8DE56FEF}"/>
          </ac:spMkLst>
        </pc:spChg>
      </pc:sldChg>
      <pc:sldChg chg="addSp delSp modSp add mod ord modAnim">
        <pc:chgData name="Thomas Stensitzki" userId="75cafe6b-2f2a-469b-85c4-eec3b9c972ba" providerId="ADAL" clId="{81A95A3F-591B-4915-9F30-386F1902D115}" dt="2022-06-08T12:06:15.971" v="1284"/>
        <pc:sldMkLst>
          <pc:docMk/>
          <pc:sldMk cId="60466671" sldId="626"/>
        </pc:sldMkLst>
        <pc:spChg chg="mod">
          <ac:chgData name="Thomas Stensitzki" userId="75cafe6b-2f2a-469b-85c4-eec3b9c972ba" providerId="ADAL" clId="{81A95A3F-591B-4915-9F30-386F1902D115}" dt="2022-06-08T09:40:13.608" v="655"/>
          <ac:spMkLst>
            <pc:docMk/>
            <pc:sldMk cId="60466671" sldId="626"/>
            <ac:spMk id="2" creationId="{8F0EE741-1AA9-4E98-9676-69EE83AA3E40}"/>
          </ac:spMkLst>
        </pc:spChg>
        <pc:picChg chg="del">
          <ac:chgData name="Thomas Stensitzki" userId="75cafe6b-2f2a-469b-85c4-eec3b9c972ba" providerId="ADAL" clId="{81A95A3F-591B-4915-9F30-386F1902D115}" dt="2022-06-08T09:40:15.048" v="656" actId="478"/>
          <ac:picMkLst>
            <pc:docMk/>
            <pc:sldMk cId="60466671" sldId="626"/>
            <ac:picMk id="5122" creationId="{2F599F29-DA65-47FC-A4FF-26B135C988D5}"/>
          </ac:picMkLst>
        </pc:picChg>
        <pc:picChg chg="add mod">
          <ac:chgData name="Thomas Stensitzki" userId="75cafe6b-2f2a-469b-85c4-eec3b9c972ba" providerId="ADAL" clId="{81A95A3F-591B-4915-9F30-386F1902D115}" dt="2022-06-08T09:40:36.059" v="661" actId="1440"/>
          <ac:picMkLst>
            <pc:docMk/>
            <pc:sldMk cId="60466671" sldId="626"/>
            <ac:picMk id="10242" creationId="{BEEB2A67-E3B4-40D1-BE01-DD233D83DAF3}"/>
          </ac:picMkLst>
        </pc:picChg>
      </pc:sldChg>
      <pc:sldChg chg="addSp delSp modSp add mod modAnim">
        <pc:chgData name="Thomas Stensitzki" userId="75cafe6b-2f2a-469b-85c4-eec3b9c972ba" providerId="ADAL" clId="{81A95A3F-591B-4915-9F30-386F1902D115}" dt="2022-06-08T12:07:03.925" v="1300"/>
        <pc:sldMkLst>
          <pc:docMk/>
          <pc:sldMk cId="851289349" sldId="627"/>
        </pc:sldMkLst>
        <pc:spChg chg="mod">
          <ac:chgData name="Thomas Stensitzki" userId="75cafe6b-2f2a-469b-85c4-eec3b9c972ba" providerId="ADAL" clId="{81A95A3F-591B-4915-9F30-386F1902D115}" dt="2022-06-08T09:42:48.884" v="668" actId="20577"/>
          <ac:spMkLst>
            <pc:docMk/>
            <pc:sldMk cId="851289349" sldId="627"/>
            <ac:spMk id="2" creationId="{EC46AD28-746E-4246-884F-4DAE24C62042}"/>
          </ac:spMkLst>
        </pc:spChg>
        <pc:picChg chg="del">
          <ac:chgData name="Thomas Stensitzki" userId="75cafe6b-2f2a-469b-85c4-eec3b9c972ba" providerId="ADAL" clId="{81A95A3F-591B-4915-9F30-386F1902D115}" dt="2022-06-08T09:43:05.673" v="670" actId="478"/>
          <ac:picMkLst>
            <pc:docMk/>
            <pc:sldMk cId="851289349" sldId="627"/>
            <ac:picMk id="9218" creationId="{50A1BB1A-7CF3-4EE3-BF1B-75BF050379F1}"/>
          </ac:picMkLst>
        </pc:picChg>
        <pc:picChg chg="del">
          <ac:chgData name="Thomas Stensitzki" userId="75cafe6b-2f2a-469b-85c4-eec3b9c972ba" providerId="ADAL" clId="{81A95A3F-591B-4915-9F30-386F1902D115}" dt="2022-06-08T09:43:05.190" v="669" actId="478"/>
          <ac:picMkLst>
            <pc:docMk/>
            <pc:sldMk cId="851289349" sldId="627"/>
            <ac:picMk id="9220" creationId="{E7B6F32E-25BC-4900-91D4-DADC692AA612}"/>
          </ac:picMkLst>
        </pc:picChg>
        <pc:picChg chg="add mod">
          <ac:chgData name="Thomas Stensitzki" userId="75cafe6b-2f2a-469b-85c4-eec3b9c972ba" providerId="ADAL" clId="{81A95A3F-591B-4915-9F30-386F1902D115}" dt="2022-06-08T09:44:05.002" v="683" actId="1440"/>
          <ac:picMkLst>
            <pc:docMk/>
            <pc:sldMk cId="851289349" sldId="627"/>
            <ac:picMk id="11266" creationId="{60E12680-8F51-4512-9E26-FDC99B644A06}"/>
          </ac:picMkLst>
        </pc:picChg>
        <pc:picChg chg="add mod">
          <ac:chgData name="Thomas Stensitzki" userId="75cafe6b-2f2a-469b-85c4-eec3b9c972ba" providerId="ADAL" clId="{81A95A3F-591B-4915-9F30-386F1902D115}" dt="2022-06-08T09:44:03.655" v="682" actId="1440"/>
          <ac:picMkLst>
            <pc:docMk/>
            <pc:sldMk cId="851289349" sldId="627"/>
            <ac:picMk id="11268" creationId="{050444B5-4A22-48BF-94D3-A56D5A8642B9}"/>
          </ac:picMkLst>
        </pc:picChg>
      </pc:sldChg>
      <pc:sldChg chg="addSp delSp modSp add modAnim">
        <pc:chgData name="Thomas Stensitzki" userId="75cafe6b-2f2a-469b-85c4-eec3b9c972ba" providerId="ADAL" clId="{81A95A3F-591B-4915-9F30-386F1902D115}" dt="2022-06-08T12:07:08.400" v="1302"/>
        <pc:sldMkLst>
          <pc:docMk/>
          <pc:sldMk cId="2662624884" sldId="628"/>
        </pc:sldMkLst>
        <pc:picChg chg="del">
          <ac:chgData name="Thomas Stensitzki" userId="75cafe6b-2f2a-469b-85c4-eec3b9c972ba" providerId="ADAL" clId="{81A95A3F-591B-4915-9F30-386F1902D115}" dt="2022-06-08T09:44:58.051" v="685" actId="478"/>
          <ac:picMkLst>
            <pc:docMk/>
            <pc:sldMk cId="2662624884" sldId="628"/>
            <ac:picMk id="11266" creationId="{60E12680-8F51-4512-9E26-FDC99B644A06}"/>
          </ac:picMkLst>
        </pc:picChg>
        <pc:picChg chg="del">
          <ac:chgData name="Thomas Stensitzki" userId="75cafe6b-2f2a-469b-85c4-eec3b9c972ba" providerId="ADAL" clId="{81A95A3F-591B-4915-9F30-386F1902D115}" dt="2022-06-08T09:44:58.520" v="686" actId="478"/>
          <ac:picMkLst>
            <pc:docMk/>
            <pc:sldMk cId="2662624884" sldId="628"/>
            <ac:picMk id="11268" creationId="{050444B5-4A22-48BF-94D3-A56D5A8642B9}"/>
          </ac:picMkLst>
        </pc:picChg>
        <pc:picChg chg="add mod">
          <ac:chgData name="Thomas Stensitzki" userId="75cafe6b-2f2a-469b-85c4-eec3b9c972ba" providerId="ADAL" clId="{81A95A3F-591B-4915-9F30-386F1902D115}" dt="2022-06-08T09:45:07.769" v="689" actId="1440"/>
          <ac:picMkLst>
            <pc:docMk/>
            <pc:sldMk cId="2662624884" sldId="628"/>
            <ac:picMk id="12290" creationId="{5170E989-D817-4956-ACE0-F6174DD1AF50}"/>
          </ac:picMkLst>
        </pc:picChg>
      </pc:sldChg>
      <pc:sldChg chg="modSp add mod ord">
        <pc:chgData name="Thomas Stensitzki" userId="75cafe6b-2f2a-469b-85c4-eec3b9c972ba" providerId="ADAL" clId="{81A95A3F-591B-4915-9F30-386F1902D115}" dt="2022-06-08T11:54:14.326" v="949" actId="1076"/>
        <pc:sldMkLst>
          <pc:docMk/>
          <pc:sldMk cId="2218637555" sldId="629"/>
        </pc:sldMkLst>
        <pc:spChg chg="mod">
          <ac:chgData name="Thomas Stensitzki" userId="75cafe6b-2f2a-469b-85c4-eec3b9c972ba" providerId="ADAL" clId="{81A95A3F-591B-4915-9F30-386F1902D115}" dt="2022-06-08T11:54:14.326" v="949" actId="1076"/>
          <ac:spMkLst>
            <pc:docMk/>
            <pc:sldMk cId="2218637555" sldId="629"/>
            <ac:spMk id="2" creationId="{909DC09D-B9A6-4493-9A72-1CA7ECB1F5CA}"/>
          </ac:spMkLst>
        </pc:spChg>
      </pc:sldChg>
      <pc:sldChg chg="modSp add mod ord">
        <pc:chgData name="Thomas Stensitzki" userId="75cafe6b-2f2a-469b-85c4-eec3b9c972ba" providerId="ADAL" clId="{81A95A3F-591B-4915-9F30-386F1902D115}" dt="2022-06-08T11:54:30.738" v="959" actId="1036"/>
        <pc:sldMkLst>
          <pc:docMk/>
          <pc:sldMk cId="3271888249" sldId="630"/>
        </pc:sldMkLst>
        <pc:spChg chg="mod">
          <ac:chgData name="Thomas Stensitzki" userId="75cafe6b-2f2a-469b-85c4-eec3b9c972ba" providerId="ADAL" clId="{81A95A3F-591B-4915-9F30-386F1902D115}" dt="2022-06-08T11:54:30.738" v="959" actId="1036"/>
          <ac:spMkLst>
            <pc:docMk/>
            <pc:sldMk cId="3271888249" sldId="630"/>
            <ac:spMk id="2" creationId="{909DC09D-B9A6-4493-9A72-1CA7ECB1F5CA}"/>
          </ac:spMkLst>
        </pc:spChg>
      </pc:sldChg>
      <pc:sldChg chg="modSp add mod ord">
        <pc:chgData name="Thomas Stensitzki" userId="75cafe6b-2f2a-469b-85c4-eec3b9c972ba" providerId="ADAL" clId="{81A95A3F-591B-4915-9F30-386F1902D115}" dt="2022-06-08T11:54:43.727" v="983" actId="1035"/>
        <pc:sldMkLst>
          <pc:docMk/>
          <pc:sldMk cId="2569360966" sldId="631"/>
        </pc:sldMkLst>
        <pc:spChg chg="mod">
          <ac:chgData name="Thomas Stensitzki" userId="75cafe6b-2f2a-469b-85c4-eec3b9c972ba" providerId="ADAL" clId="{81A95A3F-591B-4915-9F30-386F1902D115}" dt="2022-06-08T11:54:43.727" v="983" actId="1035"/>
          <ac:spMkLst>
            <pc:docMk/>
            <pc:sldMk cId="2569360966" sldId="631"/>
            <ac:spMk id="2" creationId="{909DC09D-B9A6-4493-9A72-1CA7ECB1F5CA}"/>
          </ac:spMkLst>
        </pc:spChg>
      </pc:sldChg>
      <pc:sldChg chg="modSp add mod ord">
        <pc:chgData name="Thomas Stensitzki" userId="75cafe6b-2f2a-469b-85c4-eec3b9c972ba" providerId="ADAL" clId="{81A95A3F-591B-4915-9F30-386F1902D115}" dt="2022-06-08T11:54:56.799" v="1006" actId="1035"/>
        <pc:sldMkLst>
          <pc:docMk/>
          <pc:sldMk cId="3289523661" sldId="632"/>
        </pc:sldMkLst>
        <pc:spChg chg="mod">
          <ac:chgData name="Thomas Stensitzki" userId="75cafe6b-2f2a-469b-85c4-eec3b9c972ba" providerId="ADAL" clId="{81A95A3F-591B-4915-9F30-386F1902D115}" dt="2022-06-08T11:54:56.799" v="1006" actId="1035"/>
          <ac:spMkLst>
            <pc:docMk/>
            <pc:sldMk cId="3289523661" sldId="632"/>
            <ac:spMk id="2" creationId="{909DC09D-B9A6-4493-9A72-1CA7ECB1F5CA}"/>
          </ac:spMkLst>
        </pc:spChg>
      </pc:sldChg>
      <pc:sldChg chg="modSp add mod ord">
        <pc:chgData name="Thomas Stensitzki" userId="75cafe6b-2f2a-469b-85c4-eec3b9c972ba" providerId="ADAL" clId="{81A95A3F-591B-4915-9F30-386F1902D115}" dt="2022-06-08T11:55:10.365" v="1011" actId="14100"/>
        <pc:sldMkLst>
          <pc:docMk/>
          <pc:sldMk cId="561515482" sldId="633"/>
        </pc:sldMkLst>
        <pc:spChg chg="mod">
          <ac:chgData name="Thomas Stensitzki" userId="75cafe6b-2f2a-469b-85c4-eec3b9c972ba" providerId="ADAL" clId="{81A95A3F-591B-4915-9F30-386F1902D115}" dt="2022-06-08T11:55:10.365" v="1011" actId="14100"/>
          <ac:spMkLst>
            <pc:docMk/>
            <pc:sldMk cId="561515482" sldId="633"/>
            <ac:spMk id="2" creationId="{909DC09D-B9A6-4493-9A72-1CA7ECB1F5CA}"/>
          </ac:spMkLst>
        </pc:spChg>
      </pc:sldChg>
      <pc:sldChg chg="modSp add mod ord">
        <pc:chgData name="Thomas Stensitzki" userId="75cafe6b-2f2a-469b-85c4-eec3b9c972ba" providerId="ADAL" clId="{81A95A3F-591B-4915-9F30-386F1902D115}" dt="2022-06-08T11:56:35.479" v="1038" actId="1035"/>
        <pc:sldMkLst>
          <pc:docMk/>
          <pc:sldMk cId="708263922" sldId="634"/>
        </pc:sldMkLst>
        <pc:spChg chg="mod">
          <ac:chgData name="Thomas Stensitzki" userId="75cafe6b-2f2a-469b-85c4-eec3b9c972ba" providerId="ADAL" clId="{81A95A3F-591B-4915-9F30-386F1902D115}" dt="2022-06-08T11:56:35.479" v="1038" actId="1035"/>
          <ac:spMkLst>
            <pc:docMk/>
            <pc:sldMk cId="708263922" sldId="634"/>
            <ac:spMk id="2" creationId="{909DC09D-B9A6-4493-9A72-1CA7ECB1F5CA}"/>
          </ac:spMkLst>
        </pc:spChg>
      </pc:sldChg>
      <pc:sldChg chg="modSp add mod ord">
        <pc:chgData name="Thomas Stensitzki" userId="75cafe6b-2f2a-469b-85c4-eec3b9c972ba" providerId="ADAL" clId="{81A95A3F-591B-4915-9F30-386F1902D115}" dt="2022-06-08T11:56:52.183" v="1063" actId="1036"/>
        <pc:sldMkLst>
          <pc:docMk/>
          <pc:sldMk cId="1915675541" sldId="635"/>
        </pc:sldMkLst>
        <pc:spChg chg="mod">
          <ac:chgData name="Thomas Stensitzki" userId="75cafe6b-2f2a-469b-85c4-eec3b9c972ba" providerId="ADAL" clId="{81A95A3F-591B-4915-9F30-386F1902D115}" dt="2022-06-08T11:56:52.183" v="1063" actId="1036"/>
          <ac:spMkLst>
            <pc:docMk/>
            <pc:sldMk cId="1915675541" sldId="635"/>
            <ac:spMk id="2" creationId="{909DC09D-B9A6-4493-9A72-1CA7ECB1F5CA}"/>
          </ac:spMkLst>
        </pc:spChg>
      </pc:sldChg>
      <pc:sldChg chg="modSp add mod ord">
        <pc:chgData name="Thomas Stensitzki" userId="75cafe6b-2f2a-469b-85c4-eec3b9c972ba" providerId="ADAL" clId="{81A95A3F-591B-4915-9F30-386F1902D115}" dt="2022-06-08T11:57:16.143" v="1094" actId="14100"/>
        <pc:sldMkLst>
          <pc:docMk/>
          <pc:sldMk cId="162606529" sldId="636"/>
        </pc:sldMkLst>
        <pc:spChg chg="mod">
          <ac:chgData name="Thomas Stensitzki" userId="75cafe6b-2f2a-469b-85c4-eec3b9c972ba" providerId="ADAL" clId="{81A95A3F-591B-4915-9F30-386F1902D115}" dt="2022-06-08T11:57:16.143" v="1094" actId="14100"/>
          <ac:spMkLst>
            <pc:docMk/>
            <pc:sldMk cId="162606529" sldId="636"/>
            <ac:spMk id="2" creationId="{909DC09D-B9A6-4493-9A72-1CA7ECB1F5CA}"/>
          </ac:spMkLst>
        </pc:spChg>
      </pc:sldChg>
      <pc:sldChg chg="modSp add mod ord">
        <pc:chgData name="Thomas Stensitzki" userId="75cafe6b-2f2a-469b-85c4-eec3b9c972ba" providerId="ADAL" clId="{81A95A3F-591B-4915-9F30-386F1902D115}" dt="2022-06-08T11:58:43.655" v="1155"/>
        <pc:sldMkLst>
          <pc:docMk/>
          <pc:sldMk cId="2667813829" sldId="637"/>
        </pc:sldMkLst>
        <pc:spChg chg="mod">
          <ac:chgData name="Thomas Stensitzki" userId="75cafe6b-2f2a-469b-85c4-eec3b9c972ba" providerId="ADAL" clId="{81A95A3F-591B-4915-9F30-386F1902D115}" dt="2022-06-08T11:57:52.880" v="1148" actId="1036"/>
          <ac:spMkLst>
            <pc:docMk/>
            <pc:sldMk cId="2667813829" sldId="637"/>
            <ac:spMk id="2" creationId="{909DC09D-B9A6-4493-9A72-1CA7ECB1F5CA}"/>
          </ac:spMkLst>
        </pc:spChg>
      </pc:sldChg>
      <pc:sldChg chg="add del ord">
        <pc:chgData name="Thomas Stensitzki" userId="75cafe6b-2f2a-469b-85c4-eec3b9c972ba" providerId="ADAL" clId="{81A95A3F-591B-4915-9F30-386F1902D115}" dt="2022-06-08T11:58:50.591" v="1156" actId="47"/>
        <pc:sldMkLst>
          <pc:docMk/>
          <pc:sldMk cId="3925347447" sldId="638"/>
        </pc:sldMkLst>
      </pc:sldChg>
      <pc:sldChg chg="modSp add mod ord">
        <pc:chgData name="Thomas Stensitzki" userId="75cafe6b-2f2a-469b-85c4-eec3b9c972ba" providerId="ADAL" clId="{81A95A3F-591B-4915-9F30-386F1902D115}" dt="2022-06-08T11:59:17.007" v="1179" actId="1076"/>
        <pc:sldMkLst>
          <pc:docMk/>
          <pc:sldMk cId="2476629680" sldId="639"/>
        </pc:sldMkLst>
        <pc:spChg chg="mod">
          <ac:chgData name="Thomas Stensitzki" userId="75cafe6b-2f2a-469b-85c4-eec3b9c972ba" providerId="ADAL" clId="{81A95A3F-591B-4915-9F30-386F1902D115}" dt="2022-06-08T11:59:17.007" v="1179" actId="1076"/>
          <ac:spMkLst>
            <pc:docMk/>
            <pc:sldMk cId="2476629680" sldId="639"/>
            <ac:spMk id="2" creationId="{909DC09D-B9A6-4493-9A72-1CA7ECB1F5CA}"/>
          </ac:spMkLst>
        </pc:spChg>
      </pc:sldChg>
      <pc:sldChg chg="modSp add mod">
        <pc:chgData name="Thomas Stensitzki" userId="75cafe6b-2f2a-469b-85c4-eec3b9c972ba" providerId="ADAL" clId="{81A95A3F-591B-4915-9F30-386F1902D115}" dt="2022-06-08T11:58:59.451" v="1178" actId="1036"/>
        <pc:sldMkLst>
          <pc:docMk/>
          <pc:sldMk cId="3213284904" sldId="640"/>
        </pc:sldMkLst>
        <pc:spChg chg="mod">
          <ac:chgData name="Thomas Stensitzki" userId="75cafe6b-2f2a-469b-85c4-eec3b9c972ba" providerId="ADAL" clId="{81A95A3F-591B-4915-9F30-386F1902D115}" dt="2022-06-08T11:58:59.451" v="1178" actId="1036"/>
          <ac:spMkLst>
            <pc:docMk/>
            <pc:sldMk cId="3213284904" sldId="640"/>
            <ac:spMk id="2" creationId="{909DC09D-B9A6-4493-9A72-1CA7ECB1F5CA}"/>
          </ac:spMkLst>
        </pc:spChg>
      </pc:sldChg>
      <pc:sldChg chg="modSp add mod ord">
        <pc:chgData name="Thomas Stensitzki" userId="75cafe6b-2f2a-469b-85c4-eec3b9c972ba" providerId="ADAL" clId="{81A95A3F-591B-4915-9F30-386F1902D115}" dt="2022-06-08T11:59:54.753" v="1188"/>
        <pc:sldMkLst>
          <pc:docMk/>
          <pc:sldMk cId="2520872566" sldId="641"/>
        </pc:sldMkLst>
        <pc:spChg chg="mod">
          <ac:chgData name="Thomas Stensitzki" userId="75cafe6b-2f2a-469b-85c4-eec3b9c972ba" providerId="ADAL" clId="{81A95A3F-591B-4915-9F30-386F1902D115}" dt="2022-06-08T11:59:40.552" v="1186" actId="14100"/>
          <ac:spMkLst>
            <pc:docMk/>
            <pc:sldMk cId="2520872566" sldId="641"/>
            <ac:spMk id="2" creationId="{909DC09D-B9A6-4493-9A72-1CA7ECB1F5CA}"/>
          </ac:spMkLst>
        </pc:spChg>
      </pc:sldChg>
      <pc:sldChg chg="modSp add mod ord">
        <pc:chgData name="Thomas Stensitzki" userId="75cafe6b-2f2a-469b-85c4-eec3b9c972ba" providerId="ADAL" clId="{81A95A3F-591B-4915-9F30-386F1902D115}" dt="2022-06-08T12:00:04.270" v="1212" actId="1035"/>
        <pc:sldMkLst>
          <pc:docMk/>
          <pc:sldMk cId="1280337819" sldId="642"/>
        </pc:sldMkLst>
        <pc:spChg chg="mod">
          <ac:chgData name="Thomas Stensitzki" userId="75cafe6b-2f2a-469b-85c4-eec3b9c972ba" providerId="ADAL" clId="{81A95A3F-591B-4915-9F30-386F1902D115}" dt="2022-06-08T12:00:04.270" v="1212" actId="1035"/>
          <ac:spMkLst>
            <pc:docMk/>
            <pc:sldMk cId="1280337819" sldId="642"/>
            <ac:spMk id="2" creationId="{909DC09D-B9A6-4493-9A72-1CA7ECB1F5CA}"/>
          </ac:spMkLst>
        </pc:spChg>
      </pc:sldChg>
      <pc:sldChg chg="modSp add mod ord">
        <pc:chgData name="Thomas Stensitzki" userId="75cafe6b-2f2a-469b-85c4-eec3b9c972ba" providerId="ADAL" clId="{81A95A3F-591B-4915-9F30-386F1902D115}" dt="2022-06-08T12:00:15.741" v="1216" actId="1076"/>
        <pc:sldMkLst>
          <pc:docMk/>
          <pc:sldMk cId="2743587653" sldId="643"/>
        </pc:sldMkLst>
        <pc:spChg chg="mod">
          <ac:chgData name="Thomas Stensitzki" userId="75cafe6b-2f2a-469b-85c4-eec3b9c972ba" providerId="ADAL" clId="{81A95A3F-591B-4915-9F30-386F1902D115}" dt="2022-06-08T12:00:15.741" v="1216" actId="1076"/>
          <ac:spMkLst>
            <pc:docMk/>
            <pc:sldMk cId="2743587653" sldId="643"/>
            <ac:spMk id="2" creationId="{909DC09D-B9A6-4493-9A72-1CA7ECB1F5CA}"/>
          </ac:spMkLst>
        </pc:spChg>
      </pc:sldChg>
      <pc:sldChg chg="modSp add mod">
        <pc:chgData name="Thomas Stensitzki" userId="75cafe6b-2f2a-469b-85c4-eec3b9c972ba" providerId="ADAL" clId="{81A95A3F-591B-4915-9F30-386F1902D115}" dt="2022-06-08T12:00:21.636" v="1218" actId="1076"/>
        <pc:sldMkLst>
          <pc:docMk/>
          <pc:sldMk cId="3061187211" sldId="644"/>
        </pc:sldMkLst>
        <pc:spChg chg="mod">
          <ac:chgData name="Thomas Stensitzki" userId="75cafe6b-2f2a-469b-85c4-eec3b9c972ba" providerId="ADAL" clId="{81A95A3F-591B-4915-9F30-386F1902D115}" dt="2022-06-08T12:00:21.636" v="1218" actId="1076"/>
          <ac:spMkLst>
            <pc:docMk/>
            <pc:sldMk cId="3061187211" sldId="644"/>
            <ac:spMk id="2" creationId="{909DC09D-B9A6-4493-9A72-1CA7ECB1F5CA}"/>
          </ac:spMkLst>
        </pc:spChg>
      </pc:sldChg>
      <pc:sldChg chg="modSp add mod">
        <pc:chgData name="Thomas Stensitzki" userId="75cafe6b-2f2a-469b-85c4-eec3b9c972ba" providerId="ADAL" clId="{81A95A3F-591B-4915-9F30-386F1902D115}" dt="2022-06-08T12:00:30.547" v="1220" actId="1076"/>
        <pc:sldMkLst>
          <pc:docMk/>
          <pc:sldMk cId="2023922211" sldId="645"/>
        </pc:sldMkLst>
        <pc:spChg chg="mod">
          <ac:chgData name="Thomas Stensitzki" userId="75cafe6b-2f2a-469b-85c4-eec3b9c972ba" providerId="ADAL" clId="{81A95A3F-591B-4915-9F30-386F1902D115}" dt="2022-06-08T12:00:30.547" v="1220" actId="1076"/>
          <ac:spMkLst>
            <pc:docMk/>
            <pc:sldMk cId="2023922211" sldId="645"/>
            <ac:spMk id="2" creationId="{909DC09D-B9A6-4493-9A72-1CA7ECB1F5CA}"/>
          </ac:spMkLst>
        </pc:spChg>
      </pc:sldChg>
      <pc:sldChg chg="modSp add mod">
        <pc:chgData name="Thomas Stensitzki" userId="75cafe6b-2f2a-469b-85c4-eec3b9c972ba" providerId="ADAL" clId="{81A95A3F-591B-4915-9F30-386F1902D115}" dt="2022-06-08T12:01:13.252" v="1226" actId="14100"/>
        <pc:sldMkLst>
          <pc:docMk/>
          <pc:sldMk cId="4232995729" sldId="646"/>
        </pc:sldMkLst>
        <pc:spChg chg="mod">
          <ac:chgData name="Thomas Stensitzki" userId="75cafe6b-2f2a-469b-85c4-eec3b9c972ba" providerId="ADAL" clId="{81A95A3F-591B-4915-9F30-386F1902D115}" dt="2022-06-08T12:01:13.252" v="1226" actId="14100"/>
          <ac:spMkLst>
            <pc:docMk/>
            <pc:sldMk cId="4232995729" sldId="646"/>
            <ac:spMk id="2" creationId="{909DC09D-B9A6-4493-9A72-1CA7ECB1F5CA}"/>
          </ac:spMkLst>
        </pc:spChg>
      </pc:sldChg>
      <pc:sldChg chg="add del ord">
        <pc:chgData name="Thomas Stensitzki" userId="75cafe6b-2f2a-469b-85c4-eec3b9c972ba" providerId="ADAL" clId="{81A95A3F-591B-4915-9F30-386F1902D115}" dt="2022-06-08T12:06:36.768" v="1288" actId="47"/>
        <pc:sldMkLst>
          <pc:docMk/>
          <pc:sldMk cId="3947433637" sldId="647"/>
        </pc:sldMkLst>
      </pc:sldChg>
      <pc:sldChg chg="modSp add mod ord">
        <pc:chgData name="Thomas Stensitzki" userId="75cafe6b-2f2a-469b-85c4-eec3b9c972ba" providerId="ADAL" clId="{81A95A3F-591B-4915-9F30-386F1902D115}" dt="2022-06-08T12:01:52.579" v="1237" actId="1036"/>
        <pc:sldMkLst>
          <pc:docMk/>
          <pc:sldMk cId="1507941917" sldId="648"/>
        </pc:sldMkLst>
        <pc:spChg chg="mod">
          <ac:chgData name="Thomas Stensitzki" userId="75cafe6b-2f2a-469b-85c4-eec3b9c972ba" providerId="ADAL" clId="{81A95A3F-591B-4915-9F30-386F1902D115}" dt="2022-06-08T12:01:52.579" v="1237" actId="1036"/>
          <ac:spMkLst>
            <pc:docMk/>
            <pc:sldMk cId="1507941917" sldId="648"/>
            <ac:spMk id="2" creationId="{909DC09D-B9A6-4493-9A72-1CA7ECB1F5CA}"/>
          </ac:spMkLst>
        </pc:spChg>
      </pc:sldChg>
      <pc:sldChg chg="modSp add mod">
        <pc:chgData name="Thomas Stensitzki" userId="75cafe6b-2f2a-469b-85c4-eec3b9c972ba" providerId="ADAL" clId="{81A95A3F-591B-4915-9F30-386F1902D115}" dt="2022-06-08T12:02:04.703" v="1239" actId="1076"/>
        <pc:sldMkLst>
          <pc:docMk/>
          <pc:sldMk cId="1632744645" sldId="649"/>
        </pc:sldMkLst>
        <pc:spChg chg="mod">
          <ac:chgData name="Thomas Stensitzki" userId="75cafe6b-2f2a-469b-85c4-eec3b9c972ba" providerId="ADAL" clId="{81A95A3F-591B-4915-9F30-386F1902D115}" dt="2022-06-08T12:02:04.703" v="1239" actId="1076"/>
          <ac:spMkLst>
            <pc:docMk/>
            <pc:sldMk cId="1632744645" sldId="649"/>
            <ac:spMk id="2" creationId="{909DC09D-B9A6-4493-9A72-1CA7ECB1F5CA}"/>
          </ac:spMkLst>
        </pc:spChg>
      </pc:sldChg>
      <pc:sldChg chg="modSp add mod ord">
        <pc:chgData name="Thomas Stensitzki" userId="75cafe6b-2f2a-469b-85c4-eec3b9c972ba" providerId="ADAL" clId="{81A95A3F-591B-4915-9F30-386F1902D115}" dt="2022-06-08T12:02:13.487" v="1243" actId="1076"/>
        <pc:sldMkLst>
          <pc:docMk/>
          <pc:sldMk cId="2904891794" sldId="650"/>
        </pc:sldMkLst>
        <pc:spChg chg="mod">
          <ac:chgData name="Thomas Stensitzki" userId="75cafe6b-2f2a-469b-85c4-eec3b9c972ba" providerId="ADAL" clId="{81A95A3F-591B-4915-9F30-386F1902D115}" dt="2022-06-08T12:02:13.487" v="1243" actId="1076"/>
          <ac:spMkLst>
            <pc:docMk/>
            <pc:sldMk cId="2904891794" sldId="650"/>
            <ac:spMk id="2" creationId="{909DC09D-B9A6-4493-9A72-1CA7ECB1F5CA}"/>
          </ac:spMkLst>
        </pc:spChg>
      </pc:sldChg>
      <pc:sldChg chg="modSp add mod">
        <pc:chgData name="Thomas Stensitzki" userId="75cafe6b-2f2a-469b-85c4-eec3b9c972ba" providerId="ADAL" clId="{81A95A3F-591B-4915-9F30-386F1902D115}" dt="2022-06-08T12:02:24.113" v="1246" actId="1035"/>
        <pc:sldMkLst>
          <pc:docMk/>
          <pc:sldMk cId="448268979" sldId="651"/>
        </pc:sldMkLst>
        <pc:spChg chg="mod">
          <ac:chgData name="Thomas Stensitzki" userId="75cafe6b-2f2a-469b-85c4-eec3b9c972ba" providerId="ADAL" clId="{81A95A3F-591B-4915-9F30-386F1902D115}" dt="2022-06-08T12:02:24.113" v="1246" actId="1035"/>
          <ac:spMkLst>
            <pc:docMk/>
            <pc:sldMk cId="448268979" sldId="651"/>
            <ac:spMk id="2" creationId="{909DC09D-B9A6-4493-9A72-1CA7ECB1F5CA}"/>
          </ac:spMkLst>
        </pc:spChg>
      </pc:sldChg>
    </pc:docChg>
  </pc:docChgLst>
  <pc:docChgLst>
    <pc:chgData name="Thomas Stensitzki" userId="75cafe6b-2f2a-469b-85c4-eec3b9c972ba" providerId="ADAL" clId="{CC54F8A9-7FC0-4CB0-B32E-A2A3196CB257}"/>
    <pc:docChg chg="undo custSel addSld delSld modSld sldOrd modSection">
      <pc:chgData name="Thomas Stensitzki" userId="75cafe6b-2f2a-469b-85c4-eec3b9c972ba" providerId="ADAL" clId="{CC54F8A9-7FC0-4CB0-B32E-A2A3196CB257}" dt="2020-11-12T19:11:13.100" v="52"/>
      <pc:docMkLst>
        <pc:docMk/>
      </pc:docMkLst>
      <pc:sldChg chg="modSp add del mod">
        <pc:chgData name="Thomas Stensitzki" userId="75cafe6b-2f2a-469b-85c4-eec3b9c972ba" providerId="ADAL" clId="{CC54F8A9-7FC0-4CB0-B32E-A2A3196CB257}" dt="2020-11-12T19:11:13.100" v="52"/>
        <pc:sldMkLst>
          <pc:docMk/>
          <pc:sldMk cId="2855324227" sldId="257"/>
        </pc:sldMkLst>
        <pc:graphicFrameChg chg="mod modGraphic">
          <ac:chgData name="Thomas Stensitzki" userId="75cafe6b-2f2a-469b-85c4-eec3b9c972ba" providerId="ADAL" clId="{CC54F8A9-7FC0-4CB0-B32E-A2A3196CB257}" dt="2020-11-12T19:11:13.100" v="52"/>
          <ac:graphicFrameMkLst>
            <pc:docMk/>
            <pc:sldMk cId="2855324227" sldId="257"/>
            <ac:graphicFrameMk id="6" creationId="{0F955DCC-462D-431D-BBDE-26F10687D590}"/>
          </ac:graphicFrameMkLst>
        </pc:graphicFrameChg>
      </pc:sldChg>
      <pc:sldChg chg="modSp mod">
        <pc:chgData name="Thomas Stensitzki" userId="75cafe6b-2f2a-469b-85c4-eec3b9c972ba" providerId="ADAL" clId="{CC54F8A9-7FC0-4CB0-B32E-A2A3196CB257}" dt="2020-11-10T19:12:45.211" v="23" actId="6549"/>
        <pc:sldMkLst>
          <pc:docMk/>
          <pc:sldMk cId="2698998357" sldId="260"/>
        </pc:sldMkLst>
        <pc:spChg chg="mod">
          <ac:chgData name="Thomas Stensitzki" userId="75cafe6b-2f2a-469b-85c4-eec3b9c972ba" providerId="ADAL" clId="{CC54F8A9-7FC0-4CB0-B32E-A2A3196CB257}" dt="2020-11-10T19:12:45.211" v="23" actId="6549"/>
          <ac:spMkLst>
            <pc:docMk/>
            <pc:sldMk cId="2698998357" sldId="260"/>
            <ac:spMk id="5" creationId="{F3459BE7-1731-4733-A912-12977C68CFD6}"/>
          </ac:spMkLst>
        </pc:spChg>
      </pc:sldChg>
      <pc:sldChg chg="addSp delSp mod">
        <pc:chgData name="Thomas Stensitzki" userId="75cafe6b-2f2a-469b-85c4-eec3b9c972ba" providerId="ADAL" clId="{CC54F8A9-7FC0-4CB0-B32E-A2A3196CB257}" dt="2020-11-12T18:18:08.525" v="27" actId="22"/>
        <pc:sldMkLst>
          <pc:docMk/>
          <pc:sldMk cId="466045460" sldId="296"/>
        </pc:sldMkLst>
        <pc:spChg chg="add del">
          <ac:chgData name="Thomas Stensitzki" userId="75cafe6b-2f2a-469b-85c4-eec3b9c972ba" providerId="ADAL" clId="{CC54F8A9-7FC0-4CB0-B32E-A2A3196CB257}" dt="2020-11-12T18:18:08.525" v="27" actId="22"/>
          <ac:spMkLst>
            <pc:docMk/>
            <pc:sldMk cId="466045460" sldId="296"/>
            <ac:spMk id="5" creationId="{18743737-D4F6-4765-ADA6-F2A5A1B799B1}"/>
          </ac:spMkLst>
        </pc:spChg>
      </pc:sldChg>
      <pc:sldChg chg="del mod modShow">
        <pc:chgData name="Thomas Stensitzki" userId="75cafe6b-2f2a-469b-85c4-eec3b9c972ba" providerId="ADAL" clId="{CC54F8A9-7FC0-4CB0-B32E-A2A3196CB257}" dt="2020-11-12T18:17:34.922" v="25" actId="2696"/>
        <pc:sldMkLst>
          <pc:docMk/>
          <pc:sldMk cId="3714862591" sldId="351"/>
        </pc:sldMkLst>
      </pc:sldChg>
      <pc:sldChg chg="modSp add mod ord">
        <pc:chgData name="Thomas Stensitzki" userId="75cafe6b-2f2a-469b-85c4-eec3b9c972ba" providerId="ADAL" clId="{CC54F8A9-7FC0-4CB0-B32E-A2A3196CB257}" dt="2020-11-12T19:10:30.813" v="50" actId="20577"/>
        <pc:sldMkLst>
          <pc:docMk/>
          <pc:sldMk cId="838709494" sldId="376"/>
        </pc:sldMkLst>
        <pc:graphicFrameChg chg="modGraphic">
          <ac:chgData name="Thomas Stensitzki" userId="75cafe6b-2f2a-469b-85c4-eec3b9c972ba" providerId="ADAL" clId="{CC54F8A9-7FC0-4CB0-B32E-A2A3196CB257}" dt="2020-11-12T19:10:30.813" v="50" actId="20577"/>
          <ac:graphicFrameMkLst>
            <pc:docMk/>
            <pc:sldMk cId="838709494" sldId="376"/>
            <ac:graphicFrameMk id="6" creationId="{0F955DCC-462D-431D-BBDE-26F10687D590}"/>
          </ac:graphicFrameMkLst>
        </pc:graphicFrameChg>
      </pc:sldChg>
    </pc:docChg>
  </pc:docChgLst>
  <pc:docChgLst>
    <pc:chgData name="Thomas Stensitzki" userId="75cafe6b-2f2a-469b-85c4-eec3b9c972ba" providerId="ADAL" clId="{9F9E9FDF-7C61-4792-941E-3BBD6C5DB2FE}"/>
    <pc:docChg chg="undo custSel addSld delSld modSld sldOrd modMainMaster modSection">
      <pc:chgData name="Thomas Stensitzki" userId="75cafe6b-2f2a-469b-85c4-eec3b9c972ba" providerId="ADAL" clId="{9F9E9FDF-7C61-4792-941E-3BBD6C5DB2FE}" dt="2021-02-02T13:19:58.795" v="1851" actId="6549"/>
      <pc:docMkLst>
        <pc:docMk/>
      </pc:docMkLst>
      <pc:sldChg chg="modSp mod modTransition">
        <pc:chgData name="Thomas Stensitzki" userId="75cafe6b-2f2a-469b-85c4-eec3b9c972ba" providerId="ADAL" clId="{9F9E9FDF-7C61-4792-941E-3BBD6C5DB2FE}" dt="2021-02-02T12:16:03.409" v="1540"/>
        <pc:sldMkLst>
          <pc:docMk/>
          <pc:sldMk cId="671489701" sldId="256"/>
        </pc:sldMkLst>
        <pc:spChg chg="mod">
          <ac:chgData name="Thomas Stensitzki" userId="75cafe6b-2f2a-469b-85c4-eec3b9c972ba" providerId="ADAL" clId="{9F9E9FDF-7C61-4792-941E-3BBD6C5DB2FE}" dt="2021-02-01T13:27:49.117" v="16" actId="20577"/>
          <ac:spMkLst>
            <pc:docMk/>
            <pc:sldMk cId="671489701" sldId="256"/>
            <ac:spMk id="3" creationId="{CBA95633-B02D-4A15-A8B1-A38E0A70FD27}"/>
          </ac:spMkLst>
        </pc:spChg>
      </pc:sldChg>
      <pc:sldChg chg="modSp mod modTransition">
        <pc:chgData name="Thomas Stensitzki" userId="75cafe6b-2f2a-469b-85c4-eec3b9c972ba" providerId="ADAL" clId="{9F9E9FDF-7C61-4792-941E-3BBD6C5DB2FE}" dt="2021-02-02T12:16:03.409" v="1540"/>
        <pc:sldMkLst>
          <pc:docMk/>
          <pc:sldMk cId="2855324227" sldId="257"/>
        </pc:sldMkLst>
        <pc:spChg chg="mod">
          <ac:chgData name="Thomas Stensitzki" userId="75cafe6b-2f2a-469b-85c4-eec3b9c972ba" providerId="ADAL" clId="{9F9E9FDF-7C61-4792-941E-3BBD6C5DB2FE}" dt="2021-02-01T13:29:45.139" v="53" actId="20577"/>
          <ac:spMkLst>
            <pc:docMk/>
            <pc:sldMk cId="2855324227" sldId="257"/>
            <ac:spMk id="5" creationId="{EE6719E1-4DB6-4D58-BA77-937CF975247C}"/>
          </ac:spMkLst>
        </pc:spChg>
        <pc:graphicFrameChg chg="mod modGraphic">
          <ac:chgData name="Thomas Stensitzki" userId="75cafe6b-2f2a-469b-85c4-eec3b9c972ba" providerId="ADAL" clId="{9F9E9FDF-7C61-4792-941E-3BBD6C5DB2FE}" dt="2021-02-01T16:04:37.874" v="61"/>
          <ac:graphicFrameMkLst>
            <pc:docMk/>
            <pc:sldMk cId="2855324227" sldId="257"/>
            <ac:graphicFrameMk id="6" creationId="{0F955DCC-462D-431D-BBDE-26F10687D590}"/>
          </ac:graphicFrameMkLst>
        </pc:graphicFrameChg>
      </pc:sldChg>
      <pc:sldChg chg="modSp mod ord modTransition">
        <pc:chgData name="Thomas Stensitzki" userId="75cafe6b-2f2a-469b-85c4-eec3b9c972ba" providerId="ADAL" clId="{9F9E9FDF-7C61-4792-941E-3BBD6C5DB2FE}" dt="2021-02-02T12:16:03.409" v="1540"/>
        <pc:sldMkLst>
          <pc:docMk/>
          <pc:sldMk cId="3332792154" sldId="258"/>
        </pc:sldMkLst>
        <pc:spChg chg="mod">
          <ac:chgData name="Thomas Stensitzki" userId="75cafe6b-2f2a-469b-85c4-eec3b9c972ba" providerId="ADAL" clId="{9F9E9FDF-7C61-4792-941E-3BBD6C5DB2FE}" dt="2021-02-01T16:10:23.253" v="411" actId="20577"/>
          <ac:spMkLst>
            <pc:docMk/>
            <pc:sldMk cId="3332792154" sldId="258"/>
            <ac:spMk id="3" creationId="{3A5A44EB-7FB9-473A-8ED3-C49DDD2E65AB}"/>
          </ac:spMkLst>
        </pc:spChg>
      </pc:sldChg>
      <pc:sldChg chg="modTransition">
        <pc:chgData name="Thomas Stensitzki" userId="75cafe6b-2f2a-469b-85c4-eec3b9c972ba" providerId="ADAL" clId="{9F9E9FDF-7C61-4792-941E-3BBD6C5DB2FE}" dt="2021-02-02T12:16:03.409" v="1540"/>
        <pc:sldMkLst>
          <pc:docMk/>
          <pc:sldMk cId="1545829058" sldId="259"/>
        </pc:sldMkLst>
      </pc:sldChg>
      <pc:sldChg chg="modSp mod modTransition">
        <pc:chgData name="Thomas Stensitzki" userId="75cafe6b-2f2a-469b-85c4-eec3b9c972ba" providerId="ADAL" clId="{9F9E9FDF-7C61-4792-941E-3BBD6C5DB2FE}" dt="2021-02-02T12:16:03.409" v="1540"/>
        <pc:sldMkLst>
          <pc:docMk/>
          <pc:sldMk cId="2698998357" sldId="260"/>
        </pc:sldMkLst>
        <pc:spChg chg="mod">
          <ac:chgData name="Thomas Stensitzki" userId="75cafe6b-2f2a-469b-85c4-eec3b9c972ba" providerId="ADAL" clId="{9F9E9FDF-7C61-4792-941E-3BBD6C5DB2FE}" dt="2021-02-01T16:03:10.522" v="55"/>
          <ac:spMkLst>
            <pc:docMk/>
            <pc:sldMk cId="2698998357" sldId="260"/>
            <ac:spMk id="4" creationId="{F3A15CBD-C746-44A3-A4F0-4898CE2F02E6}"/>
          </ac:spMkLst>
        </pc:spChg>
        <pc:spChg chg="mod">
          <ac:chgData name="Thomas Stensitzki" userId="75cafe6b-2f2a-469b-85c4-eec3b9c972ba" providerId="ADAL" clId="{9F9E9FDF-7C61-4792-941E-3BBD6C5DB2FE}" dt="2021-02-01T16:04:18.898" v="60"/>
          <ac:spMkLst>
            <pc:docMk/>
            <pc:sldMk cId="2698998357" sldId="260"/>
            <ac:spMk id="5" creationId="{F3459BE7-1731-4733-A912-12977C68CFD6}"/>
          </ac:spMkLst>
        </pc:spChg>
      </pc:sldChg>
      <pc:sldChg chg="modTransition">
        <pc:chgData name="Thomas Stensitzki" userId="75cafe6b-2f2a-469b-85c4-eec3b9c972ba" providerId="ADAL" clId="{9F9E9FDF-7C61-4792-941E-3BBD6C5DB2FE}" dt="2021-02-02T12:16:03.409" v="1540"/>
        <pc:sldMkLst>
          <pc:docMk/>
          <pc:sldMk cId="4007670073" sldId="268"/>
        </pc:sldMkLst>
      </pc:sldChg>
      <pc:sldChg chg="delSp modSp mod ord modTransition">
        <pc:chgData name="Thomas Stensitzki" userId="75cafe6b-2f2a-469b-85c4-eec3b9c972ba" providerId="ADAL" clId="{9F9E9FDF-7C61-4792-941E-3BBD6C5DB2FE}" dt="2021-02-02T12:16:03.409" v="1540"/>
        <pc:sldMkLst>
          <pc:docMk/>
          <pc:sldMk cId="2721051844" sldId="269"/>
        </pc:sldMkLst>
        <pc:spChg chg="del">
          <ac:chgData name="Thomas Stensitzki" userId="75cafe6b-2f2a-469b-85c4-eec3b9c972ba" providerId="ADAL" clId="{9F9E9FDF-7C61-4792-941E-3BBD6C5DB2FE}" dt="2021-02-01T16:27:24.006" v="417" actId="478"/>
          <ac:spMkLst>
            <pc:docMk/>
            <pc:sldMk cId="2721051844" sldId="269"/>
            <ac:spMk id="2" creationId="{909DC09D-B9A6-4493-9A72-1CA7ECB1F5CA}"/>
          </ac:spMkLst>
        </pc:spChg>
        <pc:spChg chg="mod">
          <ac:chgData name="Thomas Stensitzki" userId="75cafe6b-2f2a-469b-85c4-eec3b9c972ba" providerId="ADAL" clId="{9F9E9FDF-7C61-4792-941E-3BBD6C5DB2FE}" dt="2021-02-01T16:27:28.592" v="429" actId="20577"/>
          <ac:spMkLst>
            <pc:docMk/>
            <pc:sldMk cId="2721051844" sldId="269"/>
            <ac:spMk id="4" creationId="{D12969B4-351A-4517-A5B8-3E6AD9CDB206}"/>
          </ac:spMkLst>
        </pc:spChg>
        <pc:spChg chg="mod">
          <ac:chgData name="Thomas Stensitzki" userId="75cafe6b-2f2a-469b-85c4-eec3b9c972ba" providerId="ADAL" clId="{9F9E9FDF-7C61-4792-941E-3BBD6C5DB2FE}" dt="2021-02-01T16:28:27.905" v="505" actId="20577"/>
          <ac:spMkLst>
            <pc:docMk/>
            <pc:sldMk cId="2721051844" sldId="269"/>
            <ac:spMk id="5" creationId="{C24DACB5-1BEC-4C86-9652-BAFD8DE56FEF}"/>
          </ac:spMkLst>
        </pc:spChg>
      </pc:sldChg>
      <pc:sldChg chg="modTransition">
        <pc:chgData name="Thomas Stensitzki" userId="75cafe6b-2f2a-469b-85c4-eec3b9c972ba" providerId="ADAL" clId="{9F9E9FDF-7C61-4792-941E-3BBD6C5DB2FE}" dt="2021-02-02T12:16:03.409" v="1540"/>
        <pc:sldMkLst>
          <pc:docMk/>
          <pc:sldMk cId="1928334901" sldId="295"/>
        </pc:sldMkLst>
      </pc:sldChg>
      <pc:sldChg chg="modSp mod modTransition">
        <pc:chgData name="Thomas Stensitzki" userId="75cafe6b-2f2a-469b-85c4-eec3b9c972ba" providerId="ADAL" clId="{9F9E9FDF-7C61-4792-941E-3BBD6C5DB2FE}" dt="2021-02-02T12:16:03.409" v="1540"/>
        <pc:sldMkLst>
          <pc:docMk/>
          <pc:sldMk cId="466045460" sldId="296"/>
        </pc:sldMkLst>
        <pc:spChg chg="mod">
          <ac:chgData name="Thomas Stensitzki" userId="75cafe6b-2f2a-469b-85c4-eec3b9c972ba" providerId="ADAL" clId="{9F9E9FDF-7C61-4792-941E-3BBD6C5DB2FE}" dt="2021-02-02T12:11:23.870" v="1528" actId="6549"/>
          <ac:spMkLst>
            <pc:docMk/>
            <pc:sldMk cId="466045460" sldId="296"/>
            <ac:spMk id="3" creationId="{3DE143F2-5A09-45BF-B00B-7298420C5BE2}"/>
          </ac:spMkLst>
        </pc:spChg>
      </pc:sldChg>
      <pc:sldChg chg="modSp mod modTransition">
        <pc:chgData name="Thomas Stensitzki" userId="75cafe6b-2f2a-469b-85c4-eec3b9c972ba" providerId="ADAL" clId="{9F9E9FDF-7C61-4792-941E-3BBD6C5DB2FE}" dt="2021-02-02T12:16:03.409" v="1540"/>
        <pc:sldMkLst>
          <pc:docMk/>
          <pc:sldMk cId="53967156" sldId="297"/>
        </pc:sldMkLst>
        <pc:spChg chg="mod">
          <ac:chgData name="Thomas Stensitzki" userId="75cafe6b-2f2a-469b-85c4-eec3b9c972ba" providerId="ADAL" clId="{9F9E9FDF-7C61-4792-941E-3BBD6C5DB2FE}" dt="2021-02-01T16:04:47.851" v="62"/>
          <ac:spMkLst>
            <pc:docMk/>
            <pc:sldMk cId="53967156" sldId="297"/>
            <ac:spMk id="4" creationId="{F3A15CBD-C746-44A3-A4F0-4898CE2F02E6}"/>
          </ac:spMkLst>
        </pc:spChg>
        <pc:spChg chg="mod">
          <ac:chgData name="Thomas Stensitzki" userId="75cafe6b-2f2a-469b-85c4-eec3b9c972ba" providerId="ADAL" clId="{9F9E9FDF-7C61-4792-941E-3BBD6C5DB2FE}" dt="2021-02-01T16:05:19.815" v="67" actId="27636"/>
          <ac:spMkLst>
            <pc:docMk/>
            <pc:sldMk cId="53967156" sldId="297"/>
            <ac:spMk id="5" creationId="{F3459BE7-1731-4733-A912-12977C68CFD6}"/>
          </ac:spMkLst>
        </pc:spChg>
      </pc:sldChg>
      <pc:sldChg chg="modTransition">
        <pc:chgData name="Thomas Stensitzki" userId="75cafe6b-2f2a-469b-85c4-eec3b9c972ba" providerId="ADAL" clId="{9F9E9FDF-7C61-4792-941E-3BBD6C5DB2FE}" dt="2021-02-02T12:16:03.409" v="1540"/>
        <pc:sldMkLst>
          <pc:docMk/>
          <pc:sldMk cId="2814967912" sldId="311"/>
        </pc:sldMkLst>
      </pc:sldChg>
      <pc:sldChg chg="modSp mod modTransition modAnim">
        <pc:chgData name="Thomas Stensitzki" userId="75cafe6b-2f2a-469b-85c4-eec3b9c972ba" providerId="ADAL" clId="{9F9E9FDF-7C61-4792-941E-3BBD6C5DB2FE}" dt="2021-02-02T12:16:03.409" v="1540"/>
        <pc:sldMkLst>
          <pc:docMk/>
          <pc:sldMk cId="222169851" sldId="312"/>
        </pc:sldMkLst>
        <pc:spChg chg="mod">
          <ac:chgData name="Thomas Stensitzki" userId="75cafe6b-2f2a-469b-85c4-eec3b9c972ba" providerId="ADAL" clId="{9F9E9FDF-7C61-4792-941E-3BBD6C5DB2FE}" dt="2021-02-01T16:09:23.104" v="348" actId="20577"/>
          <ac:spMkLst>
            <pc:docMk/>
            <pc:sldMk cId="222169851" sldId="312"/>
            <ac:spMk id="5" creationId="{E4B561B6-C0CF-43D8-8BC7-F305B96C47C8}"/>
          </ac:spMkLst>
        </pc:spChg>
      </pc:sldChg>
      <pc:sldChg chg="modTransition">
        <pc:chgData name="Thomas Stensitzki" userId="75cafe6b-2f2a-469b-85c4-eec3b9c972ba" providerId="ADAL" clId="{9F9E9FDF-7C61-4792-941E-3BBD6C5DB2FE}" dt="2021-02-02T12:16:03.409" v="1540"/>
        <pc:sldMkLst>
          <pc:docMk/>
          <pc:sldMk cId="726195275" sldId="313"/>
        </pc:sldMkLst>
      </pc:sldChg>
      <pc:sldChg chg="del">
        <pc:chgData name="Thomas Stensitzki" userId="75cafe6b-2f2a-469b-85c4-eec3b9c972ba" providerId="ADAL" clId="{9F9E9FDF-7C61-4792-941E-3BBD6C5DB2FE}" dt="2021-02-01T16:30:25.532" v="513" actId="47"/>
        <pc:sldMkLst>
          <pc:docMk/>
          <pc:sldMk cId="3686415854" sldId="336"/>
        </pc:sldMkLst>
      </pc:sldChg>
      <pc:sldChg chg="del">
        <pc:chgData name="Thomas Stensitzki" userId="75cafe6b-2f2a-469b-85c4-eec3b9c972ba" providerId="ADAL" clId="{9F9E9FDF-7C61-4792-941E-3BBD6C5DB2FE}" dt="2021-02-01T16:30:18.702" v="512" actId="47"/>
        <pc:sldMkLst>
          <pc:docMk/>
          <pc:sldMk cId="3622499056" sldId="337"/>
        </pc:sldMkLst>
      </pc:sldChg>
      <pc:sldChg chg="del">
        <pc:chgData name="Thomas Stensitzki" userId="75cafe6b-2f2a-469b-85c4-eec3b9c972ba" providerId="ADAL" clId="{9F9E9FDF-7C61-4792-941E-3BBD6C5DB2FE}" dt="2021-02-01T16:29:52.267" v="508" actId="47"/>
        <pc:sldMkLst>
          <pc:docMk/>
          <pc:sldMk cId="3181094570" sldId="338"/>
        </pc:sldMkLst>
      </pc:sldChg>
      <pc:sldChg chg="del">
        <pc:chgData name="Thomas Stensitzki" userId="75cafe6b-2f2a-469b-85c4-eec3b9c972ba" providerId="ADAL" clId="{9F9E9FDF-7C61-4792-941E-3BBD6C5DB2FE}" dt="2021-02-01T16:30:18.702" v="512" actId="47"/>
        <pc:sldMkLst>
          <pc:docMk/>
          <pc:sldMk cId="1736096156" sldId="339"/>
        </pc:sldMkLst>
      </pc:sldChg>
      <pc:sldChg chg="del">
        <pc:chgData name="Thomas Stensitzki" userId="75cafe6b-2f2a-469b-85c4-eec3b9c972ba" providerId="ADAL" clId="{9F9E9FDF-7C61-4792-941E-3BBD6C5DB2FE}" dt="2021-02-01T16:30:18.702" v="512" actId="47"/>
        <pc:sldMkLst>
          <pc:docMk/>
          <pc:sldMk cId="1438636221" sldId="340"/>
        </pc:sldMkLst>
      </pc:sldChg>
      <pc:sldChg chg="del">
        <pc:chgData name="Thomas Stensitzki" userId="75cafe6b-2f2a-469b-85c4-eec3b9c972ba" providerId="ADAL" clId="{9F9E9FDF-7C61-4792-941E-3BBD6C5DB2FE}" dt="2021-02-01T16:30:18.702" v="512" actId="47"/>
        <pc:sldMkLst>
          <pc:docMk/>
          <pc:sldMk cId="2410740870" sldId="341"/>
        </pc:sldMkLst>
      </pc:sldChg>
      <pc:sldChg chg="del">
        <pc:chgData name="Thomas Stensitzki" userId="75cafe6b-2f2a-469b-85c4-eec3b9c972ba" providerId="ADAL" clId="{9F9E9FDF-7C61-4792-941E-3BBD6C5DB2FE}" dt="2021-02-01T16:29:52.267" v="508" actId="47"/>
        <pc:sldMkLst>
          <pc:docMk/>
          <pc:sldMk cId="2725752728" sldId="342"/>
        </pc:sldMkLst>
      </pc:sldChg>
      <pc:sldChg chg="del">
        <pc:chgData name="Thomas Stensitzki" userId="75cafe6b-2f2a-469b-85c4-eec3b9c972ba" providerId="ADAL" clId="{9F9E9FDF-7C61-4792-941E-3BBD6C5DB2FE}" dt="2021-02-01T16:29:52.267" v="508" actId="47"/>
        <pc:sldMkLst>
          <pc:docMk/>
          <pc:sldMk cId="3280483003" sldId="343"/>
        </pc:sldMkLst>
      </pc:sldChg>
      <pc:sldChg chg="del">
        <pc:chgData name="Thomas Stensitzki" userId="75cafe6b-2f2a-469b-85c4-eec3b9c972ba" providerId="ADAL" clId="{9F9E9FDF-7C61-4792-941E-3BBD6C5DB2FE}" dt="2021-02-01T16:29:52.267" v="508" actId="47"/>
        <pc:sldMkLst>
          <pc:docMk/>
          <pc:sldMk cId="3213675464" sldId="344"/>
        </pc:sldMkLst>
      </pc:sldChg>
      <pc:sldChg chg="del">
        <pc:chgData name="Thomas Stensitzki" userId="75cafe6b-2f2a-469b-85c4-eec3b9c972ba" providerId="ADAL" clId="{9F9E9FDF-7C61-4792-941E-3BBD6C5DB2FE}" dt="2021-02-01T16:29:52.267" v="508" actId="47"/>
        <pc:sldMkLst>
          <pc:docMk/>
          <pc:sldMk cId="4202633353" sldId="345"/>
        </pc:sldMkLst>
      </pc:sldChg>
      <pc:sldChg chg="del">
        <pc:chgData name="Thomas Stensitzki" userId="75cafe6b-2f2a-469b-85c4-eec3b9c972ba" providerId="ADAL" clId="{9F9E9FDF-7C61-4792-941E-3BBD6C5DB2FE}" dt="2021-02-01T16:29:55.666" v="509" actId="47"/>
        <pc:sldMkLst>
          <pc:docMk/>
          <pc:sldMk cId="788060859" sldId="346"/>
        </pc:sldMkLst>
      </pc:sldChg>
      <pc:sldChg chg="del">
        <pc:chgData name="Thomas Stensitzki" userId="75cafe6b-2f2a-469b-85c4-eec3b9c972ba" providerId="ADAL" clId="{9F9E9FDF-7C61-4792-941E-3BBD6C5DB2FE}" dt="2021-02-01T16:29:55.666" v="509" actId="47"/>
        <pc:sldMkLst>
          <pc:docMk/>
          <pc:sldMk cId="188222015" sldId="347"/>
        </pc:sldMkLst>
      </pc:sldChg>
      <pc:sldChg chg="del">
        <pc:chgData name="Thomas Stensitzki" userId="75cafe6b-2f2a-469b-85c4-eec3b9c972ba" providerId="ADAL" clId="{9F9E9FDF-7C61-4792-941E-3BBD6C5DB2FE}" dt="2021-02-01T16:30:06.697" v="510" actId="47"/>
        <pc:sldMkLst>
          <pc:docMk/>
          <pc:sldMk cId="1623484320" sldId="348"/>
        </pc:sldMkLst>
      </pc:sldChg>
      <pc:sldChg chg="del">
        <pc:chgData name="Thomas Stensitzki" userId="75cafe6b-2f2a-469b-85c4-eec3b9c972ba" providerId="ADAL" clId="{9F9E9FDF-7C61-4792-941E-3BBD6C5DB2FE}" dt="2021-02-01T16:30:06.697" v="510" actId="47"/>
        <pc:sldMkLst>
          <pc:docMk/>
          <pc:sldMk cId="3468971604" sldId="349"/>
        </pc:sldMkLst>
      </pc:sldChg>
      <pc:sldChg chg="del">
        <pc:chgData name="Thomas Stensitzki" userId="75cafe6b-2f2a-469b-85c4-eec3b9c972ba" providerId="ADAL" clId="{9F9E9FDF-7C61-4792-941E-3BBD6C5DB2FE}" dt="2021-02-01T16:30:06.697" v="510" actId="47"/>
        <pc:sldMkLst>
          <pc:docMk/>
          <pc:sldMk cId="1727630022" sldId="350"/>
        </pc:sldMkLst>
      </pc:sldChg>
      <pc:sldChg chg="del">
        <pc:chgData name="Thomas Stensitzki" userId="75cafe6b-2f2a-469b-85c4-eec3b9c972ba" providerId="ADAL" clId="{9F9E9FDF-7C61-4792-941E-3BBD6C5DB2FE}" dt="2021-02-01T16:30:06.697" v="510" actId="47"/>
        <pc:sldMkLst>
          <pc:docMk/>
          <pc:sldMk cId="901964799" sldId="352"/>
        </pc:sldMkLst>
      </pc:sldChg>
      <pc:sldChg chg="del">
        <pc:chgData name="Thomas Stensitzki" userId="75cafe6b-2f2a-469b-85c4-eec3b9c972ba" providerId="ADAL" clId="{9F9E9FDF-7C61-4792-941E-3BBD6C5DB2FE}" dt="2021-02-01T16:30:06.697" v="510" actId="47"/>
        <pc:sldMkLst>
          <pc:docMk/>
          <pc:sldMk cId="2439788833" sldId="353"/>
        </pc:sldMkLst>
      </pc:sldChg>
      <pc:sldChg chg="del">
        <pc:chgData name="Thomas Stensitzki" userId="75cafe6b-2f2a-469b-85c4-eec3b9c972ba" providerId="ADAL" clId="{9F9E9FDF-7C61-4792-941E-3BBD6C5DB2FE}" dt="2021-02-01T16:30:06.697" v="510" actId="47"/>
        <pc:sldMkLst>
          <pc:docMk/>
          <pc:sldMk cId="4123441300" sldId="354"/>
        </pc:sldMkLst>
      </pc:sldChg>
      <pc:sldChg chg="del">
        <pc:chgData name="Thomas Stensitzki" userId="75cafe6b-2f2a-469b-85c4-eec3b9c972ba" providerId="ADAL" clId="{9F9E9FDF-7C61-4792-941E-3BBD6C5DB2FE}" dt="2021-02-01T16:30:10.666" v="511" actId="47"/>
        <pc:sldMkLst>
          <pc:docMk/>
          <pc:sldMk cId="3193010953" sldId="355"/>
        </pc:sldMkLst>
      </pc:sldChg>
      <pc:sldChg chg="del">
        <pc:chgData name="Thomas Stensitzki" userId="75cafe6b-2f2a-469b-85c4-eec3b9c972ba" providerId="ADAL" clId="{9F9E9FDF-7C61-4792-941E-3BBD6C5DB2FE}" dt="2021-02-01T16:29:52.267" v="508" actId="47"/>
        <pc:sldMkLst>
          <pc:docMk/>
          <pc:sldMk cId="4104014147" sldId="356"/>
        </pc:sldMkLst>
      </pc:sldChg>
      <pc:sldChg chg="del">
        <pc:chgData name="Thomas Stensitzki" userId="75cafe6b-2f2a-469b-85c4-eec3b9c972ba" providerId="ADAL" clId="{9F9E9FDF-7C61-4792-941E-3BBD6C5DB2FE}" dt="2021-02-01T16:29:52.267" v="508" actId="47"/>
        <pc:sldMkLst>
          <pc:docMk/>
          <pc:sldMk cId="2354451857" sldId="357"/>
        </pc:sldMkLst>
      </pc:sldChg>
      <pc:sldChg chg="del">
        <pc:chgData name="Thomas Stensitzki" userId="75cafe6b-2f2a-469b-85c4-eec3b9c972ba" providerId="ADAL" clId="{9F9E9FDF-7C61-4792-941E-3BBD6C5DB2FE}" dt="2021-02-01T16:29:52.267" v="508" actId="47"/>
        <pc:sldMkLst>
          <pc:docMk/>
          <pc:sldMk cId="149641114" sldId="358"/>
        </pc:sldMkLst>
      </pc:sldChg>
      <pc:sldChg chg="del">
        <pc:chgData name="Thomas Stensitzki" userId="75cafe6b-2f2a-469b-85c4-eec3b9c972ba" providerId="ADAL" clId="{9F9E9FDF-7C61-4792-941E-3BBD6C5DB2FE}" dt="2021-02-01T16:29:52.267" v="508" actId="47"/>
        <pc:sldMkLst>
          <pc:docMk/>
          <pc:sldMk cId="2224730637" sldId="359"/>
        </pc:sldMkLst>
      </pc:sldChg>
      <pc:sldChg chg="del">
        <pc:chgData name="Thomas Stensitzki" userId="75cafe6b-2f2a-469b-85c4-eec3b9c972ba" providerId="ADAL" clId="{9F9E9FDF-7C61-4792-941E-3BBD6C5DB2FE}" dt="2021-02-01T16:29:52.267" v="508" actId="47"/>
        <pc:sldMkLst>
          <pc:docMk/>
          <pc:sldMk cId="2874601603" sldId="360"/>
        </pc:sldMkLst>
      </pc:sldChg>
      <pc:sldChg chg="del">
        <pc:chgData name="Thomas Stensitzki" userId="75cafe6b-2f2a-469b-85c4-eec3b9c972ba" providerId="ADAL" clId="{9F9E9FDF-7C61-4792-941E-3BBD6C5DB2FE}" dt="2021-02-01T16:29:52.267" v="508" actId="47"/>
        <pc:sldMkLst>
          <pc:docMk/>
          <pc:sldMk cId="2046734869" sldId="361"/>
        </pc:sldMkLst>
      </pc:sldChg>
      <pc:sldChg chg="del">
        <pc:chgData name="Thomas Stensitzki" userId="75cafe6b-2f2a-469b-85c4-eec3b9c972ba" providerId="ADAL" clId="{9F9E9FDF-7C61-4792-941E-3BBD6C5DB2FE}" dt="2021-02-01T16:29:55.666" v="509" actId="47"/>
        <pc:sldMkLst>
          <pc:docMk/>
          <pc:sldMk cId="3266975461" sldId="362"/>
        </pc:sldMkLst>
      </pc:sldChg>
      <pc:sldChg chg="del">
        <pc:chgData name="Thomas Stensitzki" userId="75cafe6b-2f2a-469b-85c4-eec3b9c972ba" providerId="ADAL" clId="{9F9E9FDF-7C61-4792-941E-3BBD6C5DB2FE}" dt="2021-02-01T16:30:06.697" v="510" actId="47"/>
        <pc:sldMkLst>
          <pc:docMk/>
          <pc:sldMk cId="182294517" sldId="363"/>
        </pc:sldMkLst>
      </pc:sldChg>
      <pc:sldChg chg="del">
        <pc:chgData name="Thomas Stensitzki" userId="75cafe6b-2f2a-469b-85c4-eec3b9c972ba" providerId="ADAL" clId="{9F9E9FDF-7C61-4792-941E-3BBD6C5DB2FE}" dt="2021-02-01T16:30:06.697" v="510" actId="47"/>
        <pc:sldMkLst>
          <pc:docMk/>
          <pc:sldMk cId="3020178309" sldId="364"/>
        </pc:sldMkLst>
      </pc:sldChg>
      <pc:sldChg chg="del">
        <pc:chgData name="Thomas Stensitzki" userId="75cafe6b-2f2a-469b-85c4-eec3b9c972ba" providerId="ADAL" clId="{9F9E9FDF-7C61-4792-941E-3BBD6C5DB2FE}" dt="2021-02-01T16:30:06.697" v="510" actId="47"/>
        <pc:sldMkLst>
          <pc:docMk/>
          <pc:sldMk cId="3331174969" sldId="365"/>
        </pc:sldMkLst>
      </pc:sldChg>
      <pc:sldChg chg="del">
        <pc:chgData name="Thomas Stensitzki" userId="75cafe6b-2f2a-469b-85c4-eec3b9c972ba" providerId="ADAL" clId="{9F9E9FDF-7C61-4792-941E-3BBD6C5DB2FE}" dt="2021-02-01T16:30:06.697" v="510" actId="47"/>
        <pc:sldMkLst>
          <pc:docMk/>
          <pc:sldMk cId="107981993" sldId="366"/>
        </pc:sldMkLst>
      </pc:sldChg>
      <pc:sldChg chg="del">
        <pc:chgData name="Thomas Stensitzki" userId="75cafe6b-2f2a-469b-85c4-eec3b9c972ba" providerId="ADAL" clId="{9F9E9FDF-7C61-4792-941E-3BBD6C5DB2FE}" dt="2021-02-01T16:30:06.697" v="510" actId="47"/>
        <pc:sldMkLst>
          <pc:docMk/>
          <pc:sldMk cId="2527187877" sldId="367"/>
        </pc:sldMkLst>
      </pc:sldChg>
      <pc:sldChg chg="del">
        <pc:chgData name="Thomas Stensitzki" userId="75cafe6b-2f2a-469b-85c4-eec3b9c972ba" providerId="ADAL" clId="{9F9E9FDF-7C61-4792-941E-3BBD6C5DB2FE}" dt="2021-02-01T16:30:06.697" v="510" actId="47"/>
        <pc:sldMkLst>
          <pc:docMk/>
          <pc:sldMk cId="1777320957" sldId="368"/>
        </pc:sldMkLst>
      </pc:sldChg>
      <pc:sldChg chg="del">
        <pc:chgData name="Thomas Stensitzki" userId="75cafe6b-2f2a-469b-85c4-eec3b9c972ba" providerId="ADAL" clId="{9F9E9FDF-7C61-4792-941E-3BBD6C5DB2FE}" dt="2021-02-01T16:30:06.697" v="510" actId="47"/>
        <pc:sldMkLst>
          <pc:docMk/>
          <pc:sldMk cId="3450062575" sldId="369"/>
        </pc:sldMkLst>
      </pc:sldChg>
      <pc:sldChg chg="del">
        <pc:chgData name="Thomas Stensitzki" userId="75cafe6b-2f2a-469b-85c4-eec3b9c972ba" providerId="ADAL" clId="{9F9E9FDF-7C61-4792-941E-3BBD6C5DB2FE}" dt="2021-02-01T16:30:10.666" v="511" actId="47"/>
        <pc:sldMkLst>
          <pc:docMk/>
          <pc:sldMk cId="426610277" sldId="370"/>
        </pc:sldMkLst>
      </pc:sldChg>
      <pc:sldChg chg="del">
        <pc:chgData name="Thomas Stensitzki" userId="75cafe6b-2f2a-469b-85c4-eec3b9c972ba" providerId="ADAL" clId="{9F9E9FDF-7C61-4792-941E-3BBD6C5DB2FE}" dt="2021-02-01T16:30:18.702" v="512" actId="47"/>
        <pc:sldMkLst>
          <pc:docMk/>
          <pc:sldMk cId="705138562" sldId="371"/>
        </pc:sldMkLst>
      </pc:sldChg>
      <pc:sldChg chg="addSp delSp modSp mod modTransition modNotesTx">
        <pc:chgData name="Thomas Stensitzki" userId="75cafe6b-2f2a-469b-85c4-eec3b9c972ba" providerId="ADAL" clId="{9F9E9FDF-7C61-4792-941E-3BBD6C5DB2FE}" dt="2021-02-02T13:13:57.391" v="1765" actId="14100"/>
        <pc:sldMkLst>
          <pc:docMk/>
          <pc:sldMk cId="3298503951" sldId="372"/>
        </pc:sldMkLst>
        <pc:spChg chg="mod">
          <ac:chgData name="Thomas Stensitzki" userId="75cafe6b-2f2a-469b-85c4-eec3b9c972ba" providerId="ADAL" clId="{9F9E9FDF-7C61-4792-941E-3BBD6C5DB2FE}" dt="2021-02-02T13:13:57.391" v="1765" actId="14100"/>
          <ac:spMkLst>
            <pc:docMk/>
            <pc:sldMk cId="3298503951" sldId="372"/>
            <ac:spMk id="2" creationId="{909DC09D-B9A6-4493-9A72-1CA7ECB1F5CA}"/>
          </ac:spMkLst>
        </pc:spChg>
        <pc:spChg chg="mod">
          <ac:chgData name="Thomas Stensitzki" userId="75cafe6b-2f2a-469b-85c4-eec3b9c972ba" providerId="ADAL" clId="{9F9E9FDF-7C61-4792-941E-3BBD6C5DB2FE}" dt="2021-02-01T17:09:26.581" v="1100" actId="20577"/>
          <ac:spMkLst>
            <pc:docMk/>
            <pc:sldMk cId="3298503951" sldId="372"/>
            <ac:spMk id="5" creationId="{C24DACB5-1BEC-4C86-9652-BAFD8DE56FEF}"/>
          </ac:spMkLst>
        </pc:spChg>
        <pc:spChg chg="add del mod">
          <ac:chgData name="Thomas Stensitzki" userId="75cafe6b-2f2a-469b-85c4-eec3b9c972ba" providerId="ADAL" clId="{9F9E9FDF-7C61-4792-941E-3BBD6C5DB2FE}" dt="2021-02-01T17:00:55.099" v="953" actId="22"/>
          <ac:spMkLst>
            <pc:docMk/>
            <pc:sldMk cId="3298503951" sldId="372"/>
            <ac:spMk id="6" creationId="{611224E3-1A0D-470E-B9FE-F2BA121DBBCF}"/>
          </ac:spMkLst>
        </pc:spChg>
      </pc:sldChg>
      <pc:sldChg chg="del">
        <pc:chgData name="Thomas Stensitzki" userId="75cafe6b-2f2a-469b-85c4-eec3b9c972ba" providerId="ADAL" clId="{9F9E9FDF-7C61-4792-941E-3BBD6C5DB2FE}" dt="2021-02-01T16:30:18.702" v="512" actId="47"/>
        <pc:sldMkLst>
          <pc:docMk/>
          <pc:sldMk cId="217993370" sldId="373"/>
        </pc:sldMkLst>
      </pc:sldChg>
      <pc:sldChg chg="del">
        <pc:chgData name="Thomas Stensitzki" userId="75cafe6b-2f2a-469b-85c4-eec3b9c972ba" providerId="ADAL" clId="{9F9E9FDF-7C61-4792-941E-3BBD6C5DB2FE}" dt="2021-02-01T16:30:18.702" v="512" actId="47"/>
        <pc:sldMkLst>
          <pc:docMk/>
          <pc:sldMk cId="432380457" sldId="374"/>
        </pc:sldMkLst>
      </pc:sldChg>
      <pc:sldChg chg="del">
        <pc:chgData name="Thomas Stensitzki" userId="75cafe6b-2f2a-469b-85c4-eec3b9c972ba" providerId="ADAL" clId="{9F9E9FDF-7C61-4792-941E-3BBD6C5DB2FE}" dt="2021-02-01T16:30:18.702" v="512" actId="47"/>
        <pc:sldMkLst>
          <pc:docMk/>
          <pc:sldMk cId="2872056675" sldId="375"/>
        </pc:sldMkLst>
      </pc:sldChg>
      <pc:sldChg chg="modSp del mod">
        <pc:chgData name="Thomas Stensitzki" userId="75cafe6b-2f2a-469b-85c4-eec3b9c972ba" providerId="ADAL" clId="{9F9E9FDF-7C61-4792-941E-3BBD6C5DB2FE}" dt="2021-02-01T16:11:00.582" v="415" actId="47"/>
        <pc:sldMkLst>
          <pc:docMk/>
          <pc:sldMk cId="838709494" sldId="376"/>
        </pc:sldMkLst>
        <pc:graphicFrameChg chg="mod modGraphic">
          <ac:chgData name="Thomas Stensitzki" userId="75cafe6b-2f2a-469b-85c4-eec3b9c972ba" providerId="ADAL" clId="{9F9E9FDF-7C61-4792-941E-3BBD6C5DB2FE}" dt="2021-02-01T16:05:27.525" v="69" actId="20577"/>
          <ac:graphicFrameMkLst>
            <pc:docMk/>
            <pc:sldMk cId="838709494" sldId="376"/>
            <ac:graphicFrameMk id="6" creationId="{0F955DCC-462D-431D-BBDE-26F10687D590}"/>
          </ac:graphicFrameMkLst>
        </pc:graphicFrameChg>
      </pc:sldChg>
      <pc:sldChg chg="add ord modTransition">
        <pc:chgData name="Thomas Stensitzki" userId="75cafe6b-2f2a-469b-85c4-eec3b9c972ba" providerId="ADAL" clId="{9F9E9FDF-7C61-4792-941E-3BBD6C5DB2FE}" dt="2021-02-02T12:16:03.409" v="1540"/>
        <pc:sldMkLst>
          <pc:docMk/>
          <pc:sldMk cId="1108181351" sldId="377"/>
        </pc:sldMkLst>
      </pc:sldChg>
      <pc:sldChg chg="modSp add mod modTransition modNotesTx">
        <pc:chgData name="Thomas Stensitzki" userId="75cafe6b-2f2a-469b-85c4-eec3b9c972ba" providerId="ADAL" clId="{9F9E9FDF-7C61-4792-941E-3BBD6C5DB2FE}" dt="2021-02-02T12:16:03.409" v="1540"/>
        <pc:sldMkLst>
          <pc:docMk/>
          <pc:sldMk cId="2227487991" sldId="378"/>
        </pc:sldMkLst>
        <pc:spChg chg="mod">
          <ac:chgData name="Thomas Stensitzki" userId="75cafe6b-2f2a-469b-85c4-eec3b9c972ba" providerId="ADAL" clId="{9F9E9FDF-7C61-4792-941E-3BBD6C5DB2FE}" dt="2021-02-02T12:11:53.106" v="1537" actId="1035"/>
          <ac:spMkLst>
            <pc:docMk/>
            <pc:sldMk cId="2227487991" sldId="378"/>
            <ac:spMk id="2" creationId="{909DC09D-B9A6-4493-9A72-1CA7ECB1F5CA}"/>
          </ac:spMkLst>
        </pc:spChg>
        <pc:spChg chg="mod">
          <ac:chgData name="Thomas Stensitzki" userId="75cafe6b-2f2a-469b-85c4-eec3b9c972ba" providerId="ADAL" clId="{9F9E9FDF-7C61-4792-941E-3BBD6C5DB2FE}" dt="2021-02-01T16:45:24.787" v="781" actId="20577"/>
          <ac:spMkLst>
            <pc:docMk/>
            <pc:sldMk cId="2227487991" sldId="378"/>
            <ac:spMk id="5" creationId="{C24DACB5-1BEC-4C86-9652-BAFD8DE56FEF}"/>
          </ac:spMkLst>
        </pc:spChg>
      </pc:sldChg>
      <pc:sldChg chg="addSp">
        <pc:chgData name="Thomas Stensitzki" userId="75cafe6b-2f2a-469b-85c4-eec3b9c972ba" providerId="ADAL" clId="{9F9E9FDF-7C61-4792-941E-3BBD6C5DB2FE}" dt="2021-02-01T16:33:15.669" v="584"/>
        <pc:sldMkLst>
          <pc:docMk/>
          <pc:sldMk cId="3297434357" sldId="379"/>
        </pc:sldMkLst>
        <pc:picChg chg="add">
          <ac:chgData name="Thomas Stensitzki" userId="75cafe6b-2f2a-469b-85c4-eec3b9c972ba" providerId="ADAL" clId="{9F9E9FDF-7C61-4792-941E-3BBD6C5DB2FE}" dt="2021-02-01T16:33:15.669" v="584"/>
          <ac:picMkLst>
            <pc:docMk/>
            <pc:sldMk cId="3297434357" sldId="379"/>
            <ac:picMk id="1026" creationId="{6F4D62F5-9A7A-4568-B0C8-37200F0AADF0}"/>
          </ac:picMkLst>
        </pc:picChg>
      </pc:sldChg>
      <pc:sldChg chg="delSp modSp new add del mod ord modTransition modNotesTx">
        <pc:chgData name="Thomas Stensitzki" userId="75cafe6b-2f2a-469b-85c4-eec3b9c972ba" providerId="ADAL" clId="{9F9E9FDF-7C61-4792-941E-3BBD6C5DB2FE}" dt="2021-02-02T12:24:12.766" v="1596" actId="1440"/>
        <pc:sldMkLst>
          <pc:docMk/>
          <pc:sldMk cId="4126930427" sldId="379"/>
        </pc:sldMkLst>
        <pc:spChg chg="mod">
          <ac:chgData name="Thomas Stensitzki" userId="75cafe6b-2f2a-469b-85c4-eec3b9c972ba" providerId="ADAL" clId="{9F9E9FDF-7C61-4792-941E-3BBD6C5DB2FE}" dt="2021-02-01T16:32:48.109" v="582"/>
          <ac:spMkLst>
            <pc:docMk/>
            <pc:sldMk cId="4126930427" sldId="379"/>
            <ac:spMk id="2" creationId="{50183ADD-E6D0-4570-B5FB-F95BA9130DEC}"/>
          </ac:spMkLst>
        </pc:spChg>
        <pc:spChg chg="del">
          <ac:chgData name="Thomas Stensitzki" userId="75cafe6b-2f2a-469b-85c4-eec3b9c972ba" providerId="ADAL" clId="{9F9E9FDF-7C61-4792-941E-3BBD6C5DB2FE}" dt="2021-02-01T16:32:51.188" v="583" actId="478"/>
          <ac:spMkLst>
            <pc:docMk/>
            <pc:sldMk cId="4126930427" sldId="379"/>
            <ac:spMk id="3" creationId="{63B38917-415E-406D-BA2F-888576D68CE3}"/>
          </ac:spMkLst>
        </pc:spChg>
        <pc:picChg chg="mod">
          <ac:chgData name="Thomas Stensitzki" userId="75cafe6b-2f2a-469b-85c4-eec3b9c972ba" providerId="ADAL" clId="{9F9E9FDF-7C61-4792-941E-3BBD6C5DB2FE}" dt="2021-02-02T12:24:12.766" v="1596" actId="1440"/>
          <ac:picMkLst>
            <pc:docMk/>
            <pc:sldMk cId="4126930427" sldId="379"/>
            <ac:picMk id="1026" creationId="{6F4D62F5-9A7A-4568-B0C8-37200F0AADF0}"/>
          </ac:picMkLst>
        </pc:picChg>
      </pc:sldChg>
      <pc:sldChg chg="modSp new mod modTransition">
        <pc:chgData name="Thomas Stensitzki" userId="75cafe6b-2f2a-469b-85c4-eec3b9c972ba" providerId="ADAL" clId="{9F9E9FDF-7C61-4792-941E-3BBD6C5DB2FE}" dt="2021-02-02T12:16:03.409" v="1540"/>
        <pc:sldMkLst>
          <pc:docMk/>
          <pc:sldMk cId="2961263446" sldId="380"/>
        </pc:sldMkLst>
        <pc:spChg chg="mod">
          <ac:chgData name="Thomas Stensitzki" userId="75cafe6b-2f2a-469b-85c4-eec3b9c972ba" providerId="ADAL" clId="{9F9E9FDF-7C61-4792-941E-3BBD6C5DB2FE}" dt="2021-02-01T16:31:27.314" v="541" actId="20577"/>
          <ac:spMkLst>
            <pc:docMk/>
            <pc:sldMk cId="2961263446" sldId="380"/>
            <ac:spMk id="2" creationId="{A26E16A2-7D3C-4696-B630-50742B55E985}"/>
          </ac:spMkLst>
        </pc:spChg>
        <pc:spChg chg="mod">
          <ac:chgData name="Thomas Stensitzki" userId="75cafe6b-2f2a-469b-85c4-eec3b9c972ba" providerId="ADAL" clId="{9F9E9FDF-7C61-4792-941E-3BBD6C5DB2FE}" dt="2021-02-01T16:31:43.515" v="568" actId="20577"/>
          <ac:spMkLst>
            <pc:docMk/>
            <pc:sldMk cId="2961263446" sldId="380"/>
            <ac:spMk id="3" creationId="{DFFA8D7B-746D-435B-B204-1D05F1677C6B}"/>
          </ac:spMkLst>
        </pc:spChg>
      </pc:sldChg>
      <pc:sldChg chg="addSp delSp modSp add del mod ord modTransition modAnim modNotesTx">
        <pc:chgData name="Thomas Stensitzki" userId="75cafe6b-2f2a-469b-85c4-eec3b9c972ba" providerId="ADAL" clId="{9F9E9FDF-7C61-4792-941E-3BBD6C5DB2FE}" dt="2021-02-02T12:24:06.721" v="1595" actId="1440"/>
        <pc:sldMkLst>
          <pc:docMk/>
          <pc:sldMk cId="2134997509" sldId="381"/>
        </pc:sldMkLst>
        <pc:spChg chg="mod">
          <ac:chgData name="Thomas Stensitzki" userId="75cafe6b-2f2a-469b-85c4-eec3b9c972ba" providerId="ADAL" clId="{9F9E9FDF-7C61-4792-941E-3BBD6C5DB2FE}" dt="2021-02-01T16:36:02.957" v="654"/>
          <ac:spMkLst>
            <pc:docMk/>
            <pc:sldMk cId="2134997509" sldId="381"/>
            <ac:spMk id="2" creationId="{50183ADD-E6D0-4570-B5FB-F95BA9130DEC}"/>
          </ac:spMkLst>
        </pc:spChg>
        <pc:spChg chg="add del">
          <ac:chgData name="Thomas Stensitzki" userId="75cafe6b-2f2a-469b-85c4-eec3b9c972ba" providerId="ADAL" clId="{9F9E9FDF-7C61-4792-941E-3BBD6C5DB2FE}" dt="2021-02-01T16:38:39.219" v="670" actId="22"/>
          <ac:spMkLst>
            <pc:docMk/>
            <pc:sldMk cId="2134997509" sldId="381"/>
            <ac:spMk id="6" creationId="{C76B924A-1598-4EF2-9DF2-0BF5D859A7BC}"/>
          </ac:spMkLst>
        </pc:spChg>
        <pc:picChg chg="add mod">
          <ac:chgData name="Thomas Stensitzki" userId="75cafe6b-2f2a-469b-85c4-eec3b9c972ba" providerId="ADAL" clId="{9F9E9FDF-7C61-4792-941E-3BBD6C5DB2FE}" dt="2021-02-02T12:23:56.265" v="1591" actId="1440"/>
          <ac:picMkLst>
            <pc:docMk/>
            <pc:sldMk cId="2134997509" sldId="381"/>
            <ac:picMk id="4" creationId="{9D05F190-4412-4197-8E5C-5F0A9D2394F8}"/>
          </ac:picMkLst>
        </pc:picChg>
        <pc:picChg chg="del">
          <ac:chgData name="Thomas Stensitzki" userId="75cafe6b-2f2a-469b-85c4-eec3b9c972ba" providerId="ADAL" clId="{9F9E9FDF-7C61-4792-941E-3BBD6C5DB2FE}" dt="2021-02-01T16:34:39.482" v="596" actId="478"/>
          <ac:picMkLst>
            <pc:docMk/>
            <pc:sldMk cId="2134997509" sldId="381"/>
            <ac:picMk id="1026" creationId="{6F4D62F5-9A7A-4568-B0C8-37200F0AADF0}"/>
          </ac:picMkLst>
        </pc:picChg>
        <pc:picChg chg="mod">
          <ac:chgData name="Thomas Stensitzki" userId="75cafe6b-2f2a-469b-85c4-eec3b9c972ba" providerId="ADAL" clId="{9F9E9FDF-7C61-4792-941E-3BBD6C5DB2FE}" dt="2021-02-02T12:24:06.721" v="1595" actId="1440"/>
          <ac:picMkLst>
            <pc:docMk/>
            <pc:sldMk cId="2134997509" sldId="381"/>
            <ac:picMk id="2050" creationId="{9F54692A-BFF1-40AA-8546-4373B2D37913}"/>
          </ac:picMkLst>
        </pc:picChg>
      </pc:sldChg>
      <pc:sldChg chg="addSp">
        <pc:chgData name="Thomas Stensitzki" userId="75cafe6b-2f2a-469b-85c4-eec3b9c972ba" providerId="ADAL" clId="{9F9E9FDF-7C61-4792-941E-3BBD6C5DB2FE}" dt="2021-02-01T16:37:37.427" v="660"/>
        <pc:sldMkLst>
          <pc:docMk/>
          <pc:sldMk cId="4092087368" sldId="381"/>
        </pc:sldMkLst>
        <pc:picChg chg="add">
          <ac:chgData name="Thomas Stensitzki" userId="75cafe6b-2f2a-469b-85c4-eec3b9c972ba" providerId="ADAL" clId="{9F9E9FDF-7C61-4792-941E-3BBD6C5DB2FE}" dt="2021-02-01T16:37:37.427" v="660"/>
          <ac:picMkLst>
            <pc:docMk/>
            <pc:sldMk cId="4092087368" sldId="381"/>
            <ac:picMk id="2050" creationId="{9F54692A-BFF1-40AA-8546-4373B2D37913}"/>
          </ac:picMkLst>
        </pc:picChg>
      </pc:sldChg>
      <pc:sldChg chg="delSp modSp add del mod ord modTransition modAnim modNotesTx">
        <pc:chgData name="Thomas Stensitzki" userId="75cafe6b-2f2a-469b-85c4-eec3b9c972ba" providerId="ADAL" clId="{9F9E9FDF-7C61-4792-941E-3BBD6C5DB2FE}" dt="2021-02-02T12:25:33.964" v="1609"/>
        <pc:sldMkLst>
          <pc:docMk/>
          <pc:sldMk cId="804569921" sldId="382"/>
        </pc:sldMkLst>
        <pc:spChg chg="mod">
          <ac:chgData name="Thomas Stensitzki" userId="75cafe6b-2f2a-469b-85c4-eec3b9c972ba" providerId="ADAL" clId="{9F9E9FDF-7C61-4792-941E-3BBD6C5DB2FE}" dt="2021-02-01T16:40:06.108" v="700"/>
          <ac:spMkLst>
            <pc:docMk/>
            <pc:sldMk cId="804569921" sldId="382"/>
            <ac:spMk id="2" creationId="{50183ADD-E6D0-4570-B5FB-F95BA9130DEC}"/>
          </ac:spMkLst>
        </pc:spChg>
        <pc:picChg chg="del">
          <ac:chgData name="Thomas Stensitzki" userId="75cafe6b-2f2a-469b-85c4-eec3b9c972ba" providerId="ADAL" clId="{9F9E9FDF-7C61-4792-941E-3BBD6C5DB2FE}" dt="2021-02-01T16:38:44.704" v="672" actId="478"/>
          <ac:picMkLst>
            <pc:docMk/>
            <pc:sldMk cId="804569921" sldId="382"/>
            <ac:picMk id="1026" creationId="{6F4D62F5-9A7A-4568-B0C8-37200F0AADF0}"/>
          </ac:picMkLst>
        </pc:picChg>
        <pc:picChg chg="mod">
          <ac:chgData name="Thomas Stensitzki" userId="75cafe6b-2f2a-469b-85c4-eec3b9c972ba" providerId="ADAL" clId="{9F9E9FDF-7C61-4792-941E-3BBD6C5DB2FE}" dt="2021-02-02T12:23:36.133" v="1587" actId="1440"/>
          <ac:picMkLst>
            <pc:docMk/>
            <pc:sldMk cId="804569921" sldId="382"/>
            <ac:picMk id="3074" creationId="{525FA78C-D70F-4375-8510-812E8C34D37F}"/>
          </ac:picMkLst>
        </pc:picChg>
        <pc:picChg chg="mod">
          <ac:chgData name="Thomas Stensitzki" userId="75cafe6b-2f2a-469b-85c4-eec3b9c972ba" providerId="ADAL" clId="{9F9E9FDF-7C61-4792-941E-3BBD6C5DB2FE}" dt="2021-02-02T12:23:44.023" v="1589" actId="1440"/>
          <ac:picMkLst>
            <pc:docMk/>
            <pc:sldMk cId="804569921" sldId="382"/>
            <ac:picMk id="4098" creationId="{C3BE1F8B-0C0E-46DA-8F0F-EA84B0224D86}"/>
          </ac:picMkLst>
        </pc:picChg>
      </pc:sldChg>
      <pc:sldChg chg="addSp">
        <pc:chgData name="Thomas Stensitzki" userId="75cafe6b-2f2a-469b-85c4-eec3b9c972ba" providerId="ADAL" clId="{9F9E9FDF-7C61-4792-941E-3BBD6C5DB2FE}" dt="2021-02-01T16:40:14.886" v="701"/>
        <pc:sldMkLst>
          <pc:docMk/>
          <pc:sldMk cId="2964036851" sldId="382"/>
        </pc:sldMkLst>
        <pc:picChg chg="add">
          <ac:chgData name="Thomas Stensitzki" userId="75cafe6b-2f2a-469b-85c4-eec3b9c972ba" providerId="ADAL" clId="{9F9E9FDF-7C61-4792-941E-3BBD6C5DB2FE}" dt="2021-02-01T16:40:14.886" v="701"/>
          <ac:picMkLst>
            <pc:docMk/>
            <pc:sldMk cId="2964036851" sldId="382"/>
            <ac:picMk id="3074" creationId="{525FA78C-D70F-4375-8510-812E8C34D37F}"/>
          </ac:picMkLst>
        </pc:picChg>
      </pc:sldChg>
      <pc:sldChg chg="addSp">
        <pc:chgData name="Thomas Stensitzki" userId="75cafe6b-2f2a-469b-85c4-eec3b9c972ba" providerId="ADAL" clId="{9F9E9FDF-7C61-4792-941E-3BBD6C5DB2FE}" dt="2021-02-01T16:40:33.988" v="705"/>
        <pc:sldMkLst>
          <pc:docMk/>
          <pc:sldMk cId="3129078594" sldId="382"/>
        </pc:sldMkLst>
        <pc:picChg chg="add">
          <ac:chgData name="Thomas Stensitzki" userId="75cafe6b-2f2a-469b-85c4-eec3b9c972ba" providerId="ADAL" clId="{9F9E9FDF-7C61-4792-941E-3BBD6C5DB2FE}" dt="2021-02-01T16:40:33.988" v="705"/>
          <ac:picMkLst>
            <pc:docMk/>
            <pc:sldMk cId="3129078594" sldId="382"/>
            <ac:picMk id="4098" creationId="{C3BE1F8B-0C0E-46DA-8F0F-EA84B0224D86}"/>
          </ac:picMkLst>
        </pc:picChg>
      </pc:sldChg>
      <pc:sldChg chg="addSp modSp add del mod ord modTransition modAnim modNotesTx">
        <pc:chgData name="Thomas Stensitzki" userId="75cafe6b-2f2a-469b-85c4-eec3b9c972ba" providerId="ADAL" clId="{9F9E9FDF-7C61-4792-941E-3BBD6C5DB2FE}" dt="2021-02-02T12:23:12.634" v="1585"/>
        <pc:sldMkLst>
          <pc:docMk/>
          <pc:sldMk cId="1200616128" sldId="383"/>
        </pc:sldMkLst>
        <pc:spChg chg="mod">
          <ac:chgData name="Thomas Stensitzki" userId="75cafe6b-2f2a-469b-85c4-eec3b9c972ba" providerId="ADAL" clId="{9F9E9FDF-7C61-4792-941E-3BBD6C5DB2FE}" dt="2021-02-01T16:42:12.561" v="734"/>
          <ac:spMkLst>
            <pc:docMk/>
            <pc:sldMk cId="1200616128" sldId="383"/>
            <ac:spMk id="2" creationId="{50183ADD-E6D0-4570-B5FB-F95BA9130DEC}"/>
          </ac:spMkLst>
        </pc:spChg>
        <pc:picChg chg="mod">
          <ac:chgData name="Thomas Stensitzki" userId="75cafe6b-2f2a-469b-85c4-eec3b9c972ba" providerId="ADAL" clId="{9F9E9FDF-7C61-4792-941E-3BBD6C5DB2FE}" dt="2021-02-02T12:23:01.298" v="1584" actId="1440"/>
          <ac:picMkLst>
            <pc:docMk/>
            <pc:sldMk cId="1200616128" sldId="383"/>
            <ac:picMk id="5122" creationId="{98FEBD17-3DE4-4FC0-98CD-A47E52244993}"/>
          </ac:picMkLst>
        </pc:picChg>
        <pc:picChg chg="mod">
          <ac:chgData name="Thomas Stensitzki" userId="75cafe6b-2f2a-469b-85c4-eec3b9c972ba" providerId="ADAL" clId="{9F9E9FDF-7C61-4792-941E-3BBD6C5DB2FE}" dt="2021-02-02T12:22:35.638" v="1581" actId="1440"/>
          <ac:picMkLst>
            <pc:docMk/>
            <pc:sldMk cId="1200616128" sldId="383"/>
            <ac:picMk id="6146" creationId="{D79D56E1-73D8-41FE-BCAC-51D16FAF5530}"/>
          </ac:picMkLst>
        </pc:picChg>
        <pc:cxnChg chg="add mod">
          <ac:chgData name="Thomas Stensitzki" userId="75cafe6b-2f2a-469b-85c4-eec3b9c972ba" providerId="ADAL" clId="{9F9E9FDF-7C61-4792-941E-3BBD6C5DB2FE}" dt="2021-02-02T12:21:54.518" v="1578" actId="208"/>
          <ac:cxnSpMkLst>
            <pc:docMk/>
            <pc:sldMk cId="1200616128" sldId="383"/>
            <ac:cxnSpMk id="4" creationId="{A2316F48-304E-4FE0-92CD-62B086F6AF6B}"/>
          </ac:cxnSpMkLst>
        </pc:cxnChg>
      </pc:sldChg>
      <pc:sldChg chg="addSp">
        <pc:chgData name="Thomas Stensitzki" userId="75cafe6b-2f2a-469b-85c4-eec3b9c972ba" providerId="ADAL" clId="{9F9E9FDF-7C61-4792-941E-3BBD6C5DB2FE}" dt="2021-02-01T16:43:13.235" v="741"/>
        <pc:sldMkLst>
          <pc:docMk/>
          <pc:sldMk cId="2646536025" sldId="383"/>
        </pc:sldMkLst>
        <pc:picChg chg="add">
          <ac:chgData name="Thomas Stensitzki" userId="75cafe6b-2f2a-469b-85c4-eec3b9c972ba" providerId="ADAL" clId="{9F9E9FDF-7C61-4792-941E-3BBD6C5DB2FE}" dt="2021-02-01T16:43:13.235" v="741"/>
          <ac:picMkLst>
            <pc:docMk/>
            <pc:sldMk cId="2646536025" sldId="383"/>
            <ac:picMk id="6146" creationId="{D79D56E1-73D8-41FE-BCAC-51D16FAF5530}"/>
          </ac:picMkLst>
        </pc:picChg>
      </pc:sldChg>
      <pc:sldChg chg="addSp">
        <pc:chgData name="Thomas Stensitzki" userId="75cafe6b-2f2a-469b-85c4-eec3b9c972ba" providerId="ADAL" clId="{9F9E9FDF-7C61-4792-941E-3BBD6C5DB2FE}" dt="2021-02-01T16:43:01.213" v="738"/>
        <pc:sldMkLst>
          <pc:docMk/>
          <pc:sldMk cId="3315723477" sldId="383"/>
        </pc:sldMkLst>
        <pc:picChg chg="add">
          <ac:chgData name="Thomas Stensitzki" userId="75cafe6b-2f2a-469b-85c4-eec3b9c972ba" providerId="ADAL" clId="{9F9E9FDF-7C61-4792-941E-3BBD6C5DB2FE}" dt="2021-02-01T16:43:01.213" v="738"/>
          <ac:picMkLst>
            <pc:docMk/>
            <pc:sldMk cId="3315723477" sldId="383"/>
            <ac:picMk id="5122" creationId="{98FEBD17-3DE4-4FC0-98CD-A47E52244993}"/>
          </ac:picMkLst>
        </pc:picChg>
      </pc:sldChg>
      <pc:sldChg chg="addSp">
        <pc:chgData name="Thomas Stensitzki" userId="75cafe6b-2f2a-469b-85c4-eec3b9c972ba" providerId="ADAL" clId="{9F9E9FDF-7C61-4792-941E-3BBD6C5DB2FE}" dt="2021-02-01T16:46:47.567" v="797"/>
        <pc:sldMkLst>
          <pc:docMk/>
          <pc:sldMk cId="268345041" sldId="384"/>
        </pc:sldMkLst>
        <pc:picChg chg="add">
          <ac:chgData name="Thomas Stensitzki" userId="75cafe6b-2f2a-469b-85c4-eec3b9c972ba" providerId="ADAL" clId="{9F9E9FDF-7C61-4792-941E-3BBD6C5DB2FE}" dt="2021-02-01T16:46:47.567" v="797"/>
          <ac:picMkLst>
            <pc:docMk/>
            <pc:sldMk cId="268345041" sldId="384"/>
            <ac:picMk id="7170" creationId="{260BBE70-DAC3-4E07-B418-8D32185B4B8C}"/>
          </ac:picMkLst>
        </pc:picChg>
      </pc:sldChg>
      <pc:sldChg chg="modSp add del mod ord modTransition modNotesTx">
        <pc:chgData name="Thomas Stensitzki" userId="75cafe6b-2f2a-469b-85c4-eec3b9c972ba" providerId="ADAL" clId="{9F9E9FDF-7C61-4792-941E-3BBD6C5DB2FE}" dt="2021-02-02T12:28:27.405" v="1622" actId="1440"/>
        <pc:sldMkLst>
          <pc:docMk/>
          <pc:sldMk cId="2706860444" sldId="384"/>
        </pc:sldMkLst>
        <pc:spChg chg="mod">
          <ac:chgData name="Thomas Stensitzki" userId="75cafe6b-2f2a-469b-85c4-eec3b9c972ba" providerId="ADAL" clId="{9F9E9FDF-7C61-4792-941E-3BBD6C5DB2FE}" dt="2021-02-01T16:46:40.586" v="796"/>
          <ac:spMkLst>
            <pc:docMk/>
            <pc:sldMk cId="2706860444" sldId="384"/>
            <ac:spMk id="2" creationId="{50183ADD-E6D0-4570-B5FB-F95BA9130DEC}"/>
          </ac:spMkLst>
        </pc:spChg>
        <pc:picChg chg="mod">
          <ac:chgData name="Thomas Stensitzki" userId="75cafe6b-2f2a-469b-85c4-eec3b9c972ba" providerId="ADAL" clId="{9F9E9FDF-7C61-4792-941E-3BBD6C5DB2FE}" dt="2021-02-02T12:28:27.405" v="1622" actId="1440"/>
          <ac:picMkLst>
            <pc:docMk/>
            <pc:sldMk cId="2706860444" sldId="384"/>
            <ac:picMk id="7170" creationId="{260BBE70-DAC3-4E07-B418-8D32185B4B8C}"/>
          </ac:picMkLst>
        </pc:picChg>
      </pc:sldChg>
      <pc:sldChg chg="addSp">
        <pc:chgData name="Thomas Stensitzki" userId="75cafe6b-2f2a-469b-85c4-eec3b9c972ba" providerId="ADAL" clId="{9F9E9FDF-7C61-4792-941E-3BBD6C5DB2FE}" dt="2021-02-01T16:48:46.082" v="818"/>
        <pc:sldMkLst>
          <pc:docMk/>
          <pc:sldMk cId="200308074" sldId="385"/>
        </pc:sldMkLst>
        <pc:picChg chg="add">
          <ac:chgData name="Thomas Stensitzki" userId="75cafe6b-2f2a-469b-85c4-eec3b9c972ba" providerId="ADAL" clId="{9F9E9FDF-7C61-4792-941E-3BBD6C5DB2FE}" dt="2021-02-01T16:48:46.082" v="818"/>
          <ac:picMkLst>
            <pc:docMk/>
            <pc:sldMk cId="200308074" sldId="385"/>
            <ac:picMk id="8194" creationId="{088BB987-0736-45BC-A2AE-5F7C068F7E09}"/>
          </ac:picMkLst>
        </pc:picChg>
      </pc:sldChg>
      <pc:sldChg chg="addSp">
        <pc:chgData name="Thomas Stensitzki" userId="75cafe6b-2f2a-469b-85c4-eec3b9c972ba" providerId="ADAL" clId="{9F9E9FDF-7C61-4792-941E-3BBD6C5DB2FE}" dt="2021-02-01T16:49:13.209" v="822"/>
        <pc:sldMkLst>
          <pc:docMk/>
          <pc:sldMk cId="472251526" sldId="385"/>
        </pc:sldMkLst>
        <pc:picChg chg="add">
          <ac:chgData name="Thomas Stensitzki" userId="75cafe6b-2f2a-469b-85c4-eec3b9c972ba" providerId="ADAL" clId="{9F9E9FDF-7C61-4792-941E-3BBD6C5DB2FE}" dt="2021-02-01T16:49:13.209" v="822"/>
          <ac:picMkLst>
            <pc:docMk/>
            <pc:sldMk cId="472251526" sldId="385"/>
            <ac:picMk id="9218" creationId="{F8D8E185-9FFE-4889-9996-BD5B46FBFDE2}"/>
          </ac:picMkLst>
        </pc:picChg>
      </pc:sldChg>
      <pc:sldChg chg="modSp add del mod ord modTransition modAnim modNotesTx">
        <pc:chgData name="Thomas Stensitzki" userId="75cafe6b-2f2a-469b-85c4-eec3b9c972ba" providerId="ADAL" clId="{9F9E9FDF-7C61-4792-941E-3BBD6C5DB2FE}" dt="2021-02-02T12:29:29.036" v="1638"/>
        <pc:sldMkLst>
          <pc:docMk/>
          <pc:sldMk cId="2618174212" sldId="385"/>
        </pc:sldMkLst>
        <pc:spChg chg="mod">
          <ac:chgData name="Thomas Stensitzki" userId="75cafe6b-2f2a-469b-85c4-eec3b9c972ba" providerId="ADAL" clId="{9F9E9FDF-7C61-4792-941E-3BBD6C5DB2FE}" dt="2021-02-01T16:47:55.508" v="804"/>
          <ac:spMkLst>
            <pc:docMk/>
            <pc:sldMk cId="2618174212" sldId="385"/>
            <ac:spMk id="2" creationId="{50183ADD-E6D0-4570-B5FB-F95BA9130DEC}"/>
          </ac:spMkLst>
        </pc:spChg>
        <pc:picChg chg="mod">
          <ac:chgData name="Thomas Stensitzki" userId="75cafe6b-2f2a-469b-85c4-eec3b9c972ba" providerId="ADAL" clId="{9F9E9FDF-7C61-4792-941E-3BBD6C5DB2FE}" dt="2021-02-02T12:29:03.092" v="1632" actId="1440"/>
          <ac:picMkLst>
            <pc:docMk/>
            <pc:sldMk cId="2618174212" sldId="385"/>
            <ac:picMk id="8194" creationId="{088BB987-0736-45BC-A2AE-5F7C068F7E09}"/>
          </ac:picMkLst>
        </pc:picChg>
        <pc:picChg chg="mod">
          <ac:chgData name="Thomas Stensitzki" userId="75cafe6b-2f2a-469b-85c4-eec3b9c972ba" providerId="ADAL" clId="{9F9E9FDF-7C61-4792-941E-3BBD6C5DB2FE}" dt="2021-02-02T12:29:23.820" v="1637" actId="1076"/>
          <ac:picMkLst>
            <pc:docMk/>
            <pc:sldMk cId="2618174212" sldId="385"/>
            <ac:picMk id="9218" creationId="{F8D8E185-9FFE-4889-9996-BD5B46FBFDE2}"/>
          </ac:picMkLst>
        </pc:picChg>
      </pc:sldChg>
      <pc:sldChg chg="addSp">
        <pc:chgData name="Thomas Stensitzki" userId="75cafe6b-2f2a-469b-85c4-eec3b9c972ba" providerId="ADAL" clId="{9F9E9FDF-7C61-4792-941E-3BBD6C5DB2FE}" dt="2021-02-01T16:51:43.493" v="851"/>
        <pc:sldMkLst>
          <pc:docMk/>
          <pc:sldMk cId="111797964" sldId="386"/>
        </pc:sldMkLst>
        <pc:picChg chg="add">
          <ac:chgData name="Thomas Stensitzki" userId="75cafe6b-2f2a-469b-85c4-eec3b9c972ba" providerId="ADAL" clId="{9F9E9FDF-7C61-4792-941E-3BBD6C5DB2FE}" dt="2021-02-01T16:51:43.493" v="851"/>
          <ac:picMkLst>
            <pc:docMk/>
            <pc:sldMk cId="111797964" sldId="386"/>
            <ac:picMk id="11266" creationId="{68B66526-F4E2-473C-8CC5-9B0D8882C321}"/>
          </ac:picMkLst>
        </pc:picChg>
      </pc:sldChg>
      <pc:sldChg chg="addSp">
        <pc:chgData name="Thomas Stensitzki" userId="75cafe6b-2f2a-469b-85c4-eec3b9c972ba" providerId="ADAL" clId="{9F9E9FDF-7C61-4792-941E-3BBD6C5DB2FE}" dt="2021-02-01T16:51:28.456" v="847"/>
        <pc:sldMkLst>
          <pc:docMk/>
          <pc:sldMk cId="1399614890" sldId="386"/>
        </pc:sldMkLst>
        <pc:picChg chg="add">
          <ac:chgData name="Thomas Stensitzki" userId="75cafe6b-2f2a-469b-85c4-eec3b9c972ba" providerId="ADAL" clId="{9F9E9FDF-7C61-4792-941E-3BBD6C5DB2FE}" dt="2021-02-01T16:51:28.456" v="847"/>
          <ac:picMkLst>
            <pc:docMk/>
            <pc:sldMk cId="1399614890" sldId="386"/>
            <ac:picMk id="10242" creationId="{9C37F8C5-9571-4D51-B7F2-F05AB240B20B}"/>
          </ac:picMkLst>
        </pc:picChg>
      </pc:sldChg>
      <pc:sldChg chg="modSp add del mod ord modTransition modAnim modNotesTx">
        <pc:chgData name="Thomas Stensitzki" userId="75cafe6b-2f2a-469b-85c4-eec3b9c972ba" providerId="ADAL" clId="{9F9E9FDF-7C61-4792-941E-3BBD6C5DB2FE}" dt="2021-02-02T12:38:08.228" v="1654"/>
        <pc:sldMkLst>
          <pc:docMk/>
          <pc:sldMk cId="2318153121" sldId="386"/>
        </pc:sldMkLst>
        <pc:spChg chg="mod">
          <ac:chgData name="Thomas Stensitzki" userId="75cafe6b-2f2a-469b-85c4-eec3b9c972ba" providerId="ADAL" clId="{9F9E9FDF-7C61-4792-941E-3BBD6C5DB2FE}" dt="2021-02-01T16:50:35.609" v="836"/>
          <ac:spMkLst>
            <pc:docMk/>
            <pc:sldMk cId="2318153121" sldId="386"/>
            <ac:spMk id="2" creationId="{50183ADD-E6D0-4570-B5FB-F95BA9130DEC}"/>
          </ac:spMkLst>
        </pc:spChg>
        <pc:picChg chg="mod">
          <ac:chgData name="Thomas Stensitzki" userId="75cafe6b-2f2a-469b-85c4-eec3b9c972ba" providerId="ADAL" clId="{9F9E9FDF-7C61-4792-941E-3BBD6C5DB2FE}" dt="2021-02-02T12:37:46.408" v="1648" actId="1440"/>
          <ac:picMkLst>
            <pc:docMk/>
            <pc:sldMk cId="2318153121" sldId="386"/>
            <ac:picMk id="10242" creationId="{9C37F8C5-9571-4D51-B7F2-F05AB240B20B}"/>
          </ac:picMkLst>
        </pc:picChg>
        <pc:picChg chg="mod">
          <ac:chgData name="Thomas Stensitzki" userId="75cafe6b-2f2a-469b-85c4-eec3b9c972ba" providerId="ADAL" clId="{9F9E9FDF-7C61-4792-941E-3BBD6C5DB2FE}" dt="2021-02-02T12:38:04.134" v="1653" actId="1440"/>
          <ac:picMkLst>
            <pc:docMk/>
            <pc:sldMk cId="2318153121" sldId="386"/>
            <ac:picMk id="11266" creationId="{68B66526-F4E2-473C-8CC5-9B0D8882C321}"/>
          </ac:picMkLst>
        </pc:picChg>
      </pc:sldChg>
      <pc:sldChg chg="modSp add mod modTransition modNotesTx">
        <pc:chgData name="Thomas Stensitzki" userId="75cafe6b-2f2a-469b-85c4-eec3b9c972ba" providerId="ADAL" clId="{9F9E9FDF-7C61-4792-941E-3BBD6C5DB2FE}" dt="2021-02-02T12:27:52.848" v="1618"/>
        <pc:sldMkLst>
          <pc:docMk/>
          <pc:sldMk cId="2558906762" sldId="387"/>
        </pc:sldMkLst>
        <pc:spChg chg="mod">
          <ac:chgData name="Thomas Stensitzki" userId="75cafe6b-2f2a-469b-85c4-eec3b9c972ba" providerId="ADAL" clId="{9F9E9FDF-7C61-4792-941E-3BBD6C5DB2FE}" dt="2021-02-02T12:27:30.479" v="1616" actId="1036"/>
          <ac:spMkLst>
            <pc:docMk/>
            <pc:sldMk cId="2558906762" sldId="387"/>
            <ac:spMk id="2" creationId="{909DC09D-B9A6-4493-9A72-1CA7ECB1F5CA}"/>
          </ac:spMkLst>
        </pc:spChg>
        <pc:spChg chg="mod">
          <ac:chgData name="Thomas Stensitzki" userId="75cafe6b-2f2a-469b-85c4-eec3b9c972ba" providerId="ADAL" clId="{9F9E9FDF-7C61-4792-941E-3BBD6C5DB2FE}" dt="2021-02-01T17:03:56.503" v="1065" actId="20577"/>
          <ac:spMkLst>
            <pc:docMk/>
            <pc:sldMk cId="2558906762" sldId="387"/>
            <ac:spMk id="5" creationId="{C24DACB5-1BEC-4C86-9652-BAFD8DE56FEF}"/>
          </ac:spMkLst>
        </pc:spChg>
      </pc:sldChg>
      <pc:sldChg chg="addSp">
        <pc:chgData name="Thomas Stensitzki" userId="75cafe6b-2f2a-469b-85c4-eec3b9c972ba" providerId="ADAL" clId="{9F9E9FDF-7C61-4792-941E-3BBD6C5DB2FE}" dt="2021-02-01T16:59:24.441" v="943"/>
        <pc:sldMkLst>
          <pc:docMk/>
          <pc:sldMk cId="1475173892" sldId="388"/>
        </pc:sldMkLst>
        <pc:picChg chg="add">
          <ac:chgData name="Thomas Stensitzki" userId="75cafe6b-2f2a-469b-85c4-eec3b9c972ba" providerId="ADAL" clId="{9F9E9FDF-7C61-4792-941E-3BBD6C5DB2FE}" dt="2021-02-01T16:59:24.441" v="943"/>
          <ac:picMkLst>
            <pc:docMk/>
            <pc:sldMk cId="1475173892" sldId="388"/>
            <ac:picMk id="14338" creationId="{EE8D1B22-ACB4-46C4-A4E7-A7B07C0707BC}"/>
          </ac:picMkLst>
        </pc:picChg>
      </pc:sldChg>
      <pc:sldChg chg="addSp delSp modSp add del mod modTransition modNotesTx">
        <pc:chgData name="Thomas Stensitzki" userId="75cafe6b-2f2a-469b-85c4-eec3b9c972ba" providerId="ADAL" clId="{9F9E9FDF-7C61-4792-941E-3BBD6C5DB2FE}" dt="2021-02-02T12:53:42.475" v="1704" actId="17032"/>
        <pc:sldMkLst>
          <pc:docMk/>
          <pc:sldMk cId="2051762330" sldId="388"/>
        </pc:sldMkLst>
        <pc:spChg chg="mod">
          <ac:chgData name="Thomas Stensitzki" userId="75cafe6b-2f2a-469b-85c4-eec3b9c972ba" providerId="ADAL" clId="{9F9E9FDF-7C61-4792-941E-3BBD6C5DB2FE}" dt="2021-02-01T17:12:20.815" v="1143"/>
          <ac:spMkLst>
            <pc:docMk/>
            <pc:sldMk cId="2051762330" sldId="388"/>
            <ac:spMk id="2" creationId="{50183ADD-E6D0-4570-B5FB-F95BA9130DEC}"/>
          </ac:spMkLst>
        </pc:spChg>
        <pc:spChg chg="add mod">
          <ac:chgData name="Thomas Stensitzki" userId="75cafe6b-2f2a-469b-85c4-eec3b9c972ba" providerId="ADAL" clId="{9F9E9FDF-7C61-4792-941E-3BBD6C5DB2FE}" dt="2021-02-02T12:53:42.475" v="1704" actId="17032"/>
          <ac:spMkLst>
            <pc:docMk/>
            <pc:sldMk cId="2051762330" sldId="388"/>
            <ac:spMk id="3" creationId="{0C85C9A9-0526-420F-88D1-C511F504C043}"/>
          </ac:spMkLst>
        </pc:spChg>
        <pc:picChg chg="add del mod">
          <ac:chgData name="Thomas Stensitzki" userId="75cafe6b-2f2a-469b-85c4-eec3b9c972ba" providerId="ADAL" clId="{9F9E9FDF-7C61-4792-941E-3BBD6C5DB2FE}" dt="2021-02-01T17:12:59.806" v="1149" actId="478"/>
          <ac:picMkLst>
            <pc:docMk/>
            <pc:sldMk cId="2051762330" sldId="388"/>
            <ac:picMk id="14338" creationId="{EE8D1B22-ACB4-46C4-A4E7-A7B07C0707BC}"/>
          </ac:picMkLst>
        </pc:picChg>
        <pc:picChg chg="mod">
          <ac:chgData name="Thomas Stensitzki" userId="75cafe6b-2f2a-469b-85c4-eec3b9c972ba" providerId="ADAL" clId="{9F9E9FDF-7C61-4792-941E-3BBD6C5DB2FE}" dt="2021-02-02T12:53:05.755" v="1702" actId="1076"/>
          <ac:picMkLst>
            <pc:docMk/>
            <pc:sldMk cId="2051762330" sldId="388"/>
            <ac:picMk id="19458" creationId="{D0BE47F9-312D-4DCB-9EEB-05CA5E81F0B9}"/>
          </ac:picMkLst>
        </pc:picChg>
      </pc:sldChg>
      <pc:sldChg chg="addSp">
        <pc:chgData name="Thomas Stensitzki" userId="75cafe6b-2f2a-469b-85c4-eec3b9c972ba" providerId="ADAL" clId="{9F9E9FDF-7C61-4792-941E-3BBD6C5DB2FE}" dt="2021-02-01T17:13:04.894" v="1150"/>
        <pc:sldMkLst>
          <pc:docMk/>
          <pc:sldMk cId="3464665633" sldId="388"/>
        </pc:sldMkLst>
        <pc:picChg chg="add">
          <ac:chgData name="Thomas Stensitzki" userId="75cafe6b-2f2a-469b-85c4-eec3b9c972ba" providerId="ADAL" clId="{9F9E9FDF-7C61-4792-941E-3BBD6C5DB2FE}" dt="2021-02-01T17:13:04.894" v="1150"/>
          <ac:picMkLst>
            <pc:docMk/>
            <pc:sldMk cId="3464665633" sldId="388"/>
            <ac:picMk id="19458" creationId="{D0BE47F9-312D-4DCB-9EEB-05CA5E81F0B9}"/>
          </ac:picMkLst>
        </pc:picChg>
      </pc:sldChg>
      <pc:sldChg chg="addSp">
        <pc:chgData name="Thomas Stensitzki" userId="75cafe6b-2f2a-469b-85c4-eec3b9c972ba" providerId="ADAL" clId="{9F9E9FDF-7C61-4792-941E-3BBD6C5DB2FE}" dt="2021-02-01T16:57:50.417" v="917"/>
        <pc:sldMkLst>
          <pc:docMk/>
          <pc:sldMk cId="1957061461" sldId="389"/>
        </pc:sldMkLst>
        <pc:picChg chg="add">
          <ac:chgData name="Thomas Stensitzki" userId="75cafe6b-2f2a-469b-85c4-eec3b9c972ba" providerId="ADAL" clId="{9F9E9FDF-7C61-4792-941E-3BBD6C5DB2FE}" dt="2021-02-01T16:57:50.417" v="917"/>
          <ac:picMkLst>
            <pc:docMk/>
            <pc:sldMk cId="1957061461" sldId="389"/>
            <ac:picMk id="13314" creationId="{0EE2B04D-768F-4FAF-A2DC-658BEBF890D3}"/>
          </ac:picMkLst>
        </pc:picChg>
      </pc:sldChg>
      <pc:sldChg chg="modSp add del mod ord modTransition modNotesTx">
        <pc:chgData name="Thomas Stensitzki" userId="75cafe6b-2f2a-469b-85c4-eec3b9c972ba" providerId="ADAL" clId="{9F9E9FDF-7C61-4792-941E-3BBD6C5DB2FE}" dt="2021-02-02T12:41:49.731" v="1673" actId="1440"/>
        <pc:sldMkLst>
          <pc:docMk/>
          <pc:sldMk cId="3866198253" sldId="389"/>
        </pc:sldMkLst>
        <pc:spChg chg="mod">
          <ac:chgData name="Thomas Stensitzki" userId="75cafe6b-2f2a-469b-85c4-eec3b9c972ba" providerId="ADAL" clId="{9F9E9FDF-7C61-4792-941E-3BBD6C5DB2FE}" dt="2021-02-01T16:56:49.112" v="896"/>
          <ac:spMkLst>
            <pc:docMk/>
            <pc:sldMk cId="3866198253" sldId="389"/>
            <ac:spMk id="2" creationId="{50183ADD-E6D0-4570-B5FB-F95BA9130DEC}"/>
          </ac:spMkLst>
        </pc:spChg>
        <pc:picChg chg="mod">
          <ac:chgData name="Thomas Stensitzki" userId="75cafe6b-2f2a-469b-85c4-eec3b9c972ba" providerId="ADAL" clId="{9F9E9FDF-7C61-4792-941E-3BBD6C5DB2FE}" dt="2021-02-02T12:41:49.731" v="1673" actId="1440"/>
          <ac:picMkLst>
            <pc:docMk/>
            <pc:sldMk cId="3866198253" sldId="389"/>
            <ac:picMk id="13314" creationId="{0EE2B04D-768F-4FAF-A2DC-658BEBF890D3}"/>
          </ac:picMkLst>
        </pc:picChg>
      </pc:sldChg>
      <pc:sldChg chg="addSp delSp modSp add del mod ord modTransition modNotesTx">
        <pc:chgData name="Thomas Stensitzki" userId="75cafe6b-2f2a-469b-85c4-eec3b9c972ba" providerId="ADAL" clId="{9F9E9FDF-7C61-4792-941E-3BBD6C5DB2FE}" dt="2021-02-02T12:41:19.513" v="1664" actId="1440"/>
        <pc:sldMkLst>
          <pc:docMk/>
          <pc:sldMk cId="1281650883" sldId="390"/>
        </pc:sldMkLst>
        <pc:spChg chg="mod">
          <ac:chgData name="Thomas Stensitzki" userId="75cafe6b-2f2a-469b-85c4-eec3b9c972ba" providerId="ADAL" clId="{9F9E9FDF-7C61-4792-941E-3BBD6C5DB2FE}" dt="2021-02-01T16:52:05.797" v="854"/>
          <ac:spMkLst>
            <pc:docMk/>
            <pc:sldMk cId="1281650883" sldId="390"/>
            <ac:spMk id="2" creationId="{50183ADD-E6D0-4570-B5FB-F95BA9130DEC}"/>
          </ac:spMkLst>
        </pc:spChg>
        <pc:spChg chg="add del">
          <ac:chgData name="Thomas Stensitzki" userId="75cafe6b-2f2a-469b-85c4-eec3b9c972ba" providerId="ADAL" clId="{9F9E9FDF-7C61-4792-941E-3BBD6C5DB2FE}" dt="2021-02-01T16:52:32.537" v="858" actId="478"/>
          <ac:spMkLst>
            <pc:docMk/>
            <pc:sldMk cId="1281650883" sldId="390"/>
            <ac:spMk id="4" creationId="{12541D46-FB2A-4FC8-8756-0718815220BE}"/>
          </ac:spMkLst>
        </pc:spChg>
        <pc:picChg chg="mod">
          <ac:chgData name="Thomas Stensitzki" userId="75cafe6b-2f2a-469b-85c4-eec3b9c972ba" providerId="ADAL" clId="{9F9E9FDF-7C61-4792-941E-3BBD6C5DB2FE}" dt="2021-02-02T12:41:19.513" v="1664" actId="1440"/>
          <ac:picMkLst>
            <pc:docMk/>
            <pc:sldMk cId="1281650883" sldId="390"/>
            <ac:picMk id="12290" creationId="{7853A3BB-F62F-44E0-B98E-81D92BD646D1}"/>
          </ac:picMkLst>
        </pc:picChg>
      </pc:sldChg>
      <pc:sldChg chg="addSp">
        <pc:chgData name="Thomas Stensitzki" userId="75cafe6b-2f2a-469b-85c4-eec3b9c972ba" providerId="ADAL" clId="{9F9E9FDF-7C61-4792-941E-3BBD6C5DB2FE}" dt="2021-02-01T16:52:39.752" v="859"/>
        <pc:sldMkLst>
          <pc:docMk/>
          <pc:sldMk cId="1513511166" sldId="390"/>
        </pc:sldMkLst>
        <pc:picChg chg="add">
          <ac:chgData name="Thomas Stensitzki" userId="75cafe6b-2f2a-469b-85c4-eec3b9c972ba" providerId="ADAL" clId="{9F9E9FDF-7C61-4792-941E-3BBD6C5DB2FE}" dt="2021-02-01T16:52:39.752" v="859"/>
          <ac:picMkLst>
            <pc:docMk/>
            <pc:sldMk cId="1513511166" sldId="390"/>
            <ac:picMk id="12290" creationId="{7853A3BB-F62F-44E0-B98E-81D92BD646D1}"/>
          </ac:picMkLst>
        </pc:picChg>
      </pc:sldChg>
      <pc:sldChg chg="addSp">
        <pc:chgData name="Thomas Stensitzki" userId="75cafe6b-2f2a-469b-85c4-eec3b9c972ba" providerId="ADAL" clId="{9F9E9FDF-7C61-4792-941E-3BBD6C5DB2FE}" dt="2021-02-01T17:05:20.262" v="1081"/>
        <pc:sldMkLst>
          <pc:docMk/>
          <pc:sldMk cId="945372120" sldId="391"/>
        </pc:sldMkLst>
        <pc:picChg chg="add">
          <ac:chgData name="Thomas Stensitzki" userId="75cafe6b-2f2a-469b-85c4-eec3b9c972ba" providerId="ADAL" clId="{9F9E9FDF-7C61-4792-941E-3BBD6C5DB2FE}" dt="2021-02-01T17:05:20.262" v="1081"/>
          <ac:picMkLst>
            <pc:docMk/>
            <pc:sldMk cId="945372120" sldId="391"/>
            <ac:picMk id="15362" creationId="{B90975DC-5162-4F41-B5F2-BBBE15E2112E}"/>
          </ac:picMkLst>
        </pc:picChg>
      </pc:sldChg>
      <pc:sldChg chg="addSp">
        <pc:chgData name="Thomas Stensitzki" userId="75cafe6b-2f2a-469b-85c4-eec3b9c972ba" providerId="ADAL" clId="{9F9E9FDF-7C61-4792-941E-3BBD6C5DB2FE}" dt="2021-02-01T17:05:27.412" v="1085"/>
        <pc:sldMkLst>
          <pc:docMk/>
          <pc:sldMk cId="1151788966" sldId="391"/>
        </pc:sldMkLst>
        <pc:picChg chg="add">
          <ac:chgData name="Thomas Stensitzki" userId="75cafe6b-2f2a-469b-85c4-eec3b9c972ba" providerId="ADAL" clId="{9F9E9FDF-7C61-4792-941E-3BBD6C5DB2FE}" dt="2021-02-01T17:05:27.412" v="1085"/>
          <ac:picMkLst>
            <pc:docMk/>
            <pc:sldMk cId="1151788966" sldId="391"/>
            <ac:picMk id="16386" creationId="{F2A275E7-9123-49B8-915C-3A94852B1686}"/>
          </ac:picMkLst>
        </pc:picChg>
      </pc:sldChg>
      <pc:sldChg chg="delSp modSp new add del mod ord modTransition modAnim">
        <pc:chgData name="Thomas Stensitzki" userId="75cafe6b-2f2a-469b-85c4-eec3b9c972ba" providerId="ADAL" clId="{9F9E9FDF-7C61-4792-941E-3BBD6C5DB2FE}" dt="2021-02-02T13:16:40.338" v="1799"/>
        <pc:sldMkLst>
          <pc:docMk/>
          <pc:sldMk cId="2585887928" sldId="391"/>
        </pc:sldMkLst>
        <pc:spChg chg="mod">
          <ac:chgData name="Thomas Stensitzki" userId="75cafe6b-2f2a-469b-85c4-eec3b9c972ba" providerId="ADAL" clId="{9F9E9FDF-7C61-4792-941E-3BBD6C5DB2FE}" dt="2021-02-01T17:05:13.081" v="1080"/>
          <ac:spMkLst>
            <pc:docMk/>
            <pc:sldMk cId="2585887928" sldId="391"/>
            <ac:spMk id="2" creationId="{11E5EEC8-6493-4BA0-8811-4A3F48FE62AF}"/>
          </ac:spMkLst>
        </pc:spChg>
        <pc:spChg chg="del">
          <ac:chgData name="Thomas Stensitzki" userId="75cafe6b-2f2a-469b-85c4-eec3b9c972ba" providerId="ADAL" clId="{9F9E9FDF-7C61-4792-941E-3BBD6C5DB2FE}" dt="2021-02-01T16:54:28.929" v="892" actId="478"/>
          <ac:spMkLst>
            <pc:docMk/>
            <pc:sldMk cId="2585887928" sldId="391"/>
            <ac:spMk id="3" creationId="{CAE56BB2-30FF-4890-8015-D3777AA14D19}"/>
          </ac:spMkLst>
        </pc:spChg>
        <pc:picChg chg="mod">
          <ac:chgData name="Thomas Stensitzki" userId="75cafe6b-2f2a-469b-85c4-eec3b9c972ba" providerId="ADAL" clId="{9F9E9FDF-7C61-4792-941E-3BBD6C5DB2FE}" dt="2021-02-02T13:15:11.072" v="1782" actId="1440"/>
          <ac:picMkLst>
            <pc:docMk/>
            <pc:sldMk cId="2585887928" sldId="391"/>
            <ac:picMk id="15362" creationId="{B90975DC-5162-4F41-B5F2-BBBE15E2112E}"/>
          </ac:picMkLst>
        </pc:picChg>
        <pc:picChg chg="mod">
          <ac:chgData name="Thomas Stensitzki" userId="75cafe6b-2f2a-469b-85c4-eec3b9c972ba" providerId="ADAL" clId="{9F9E9FDF-7C61-4792-941E-3BBD6C5DB2FE}" dt="2021-02-02T13:16:37.692" v="1798" actId="1076"/>
          <ac:picMkLst>
            <pc:docMk/>
            <pc:sldMk cId="2585887928" sldId="391"/>
            <ac:picMk id="16386" creationId="{F2A275E7-9123-49B8-915C-3A94852B1686}"/>
          </ac:picMkLst>
        </pc:picChg>
        <pc:picChg chg="del mod">
          <ac:chgData name="Thomas Stensitzki" userId="75cafe6b-2f2a-469b-85c4-eec3b9c972ba" providerId="ADAL" clId="{9F9E9FDF-7C61-4792-941E-3BBD6C5DB2FE}" dt="2021-02-02T13:16:30.043" v="1796" actId="478"/>
          <ac:picMkLst>
            <pc:docMk/>
            <pc:sldMk cId="2585887928" sldId="391"/>
            <ac:picMk id="17410" creationId="{EE942377-844A-497A-BCA1-1F49B9ADD376}"/>
          </ac:picMkLst>
        </pc:picChg>
        <pc:picChg chg="del mod">
          <ac:chgData name="Thomas Stensitzki" userId="75cafe6b-2f2a-469b-85c4-eec3b9c972ba" providerId="ADAL" clId="{9F9E9FDF-7C61-4792-941E-3BBD6C5DB2FE}" dt="2021-02-02T13:16:30.697" v="1797" actId="478"/>
          <ac:picMkLst>
            <pc:docMk/>
            <pc:sldMk cId="2585887928" sldId="391"/>
            <ac:picMk id="18434" creationId="{E18917D5-462E-425F-B1A7-02E0FDB5393A}"/>
          </ac:picMkLst>
        </pc:picChg>
      </pc:sldChg>
      <pc:sldChg chg="addSp">
        <pc:chgData name="Thomas Stensitzki" userId="75cafe6b-2f2a-469b-85c4-eec3b9c972ba" providerId="ADAL" clId="{9F9E9FDF-7C61-4792-941E-3BBD6C5DB2FE}" dt="2021-02-01T17:05:58.361" v="1093"/>
        <pc:sldMkLst>
          <pc:docMk/>
          <pc:sldMk cId="4010300682" sldId="391"/>
        </pc:sldMkLst>
        <pc:picChg chg="add">
          <ac:chgData name="Thomas Stensitzki" userId="75cafe6b-2f2a-469b-85c4-eec3b9c972ba" providerId="ADAL" clId="{9F9E9FDF-7C61-4792-941E-3BBD6C5DB2FE}" dt="2021-02-01T17:05:58.361" v="1093"/>
          <ac:picMkLst>
            <pc:docMk/>
            <pc:sldMk cId="4010300682" sldId="391"/>
            <ac:picMk id="18434" creationId="{E18917D5-462E-425F-B1A7-02E0FDB5393A}"/>
          </ac:picMkLst>
        </pc:picChg>
      </pc:sldChg>
      <pc:sldChg chg="addSp">
        <pc:chgData name="Thomas Stensitzki" userId="75cafe6b-2f2a-469b-85c4-eec3b9c972ba" providerId="ADAL" clId="{9F9E9FDF-7C61-4792-941E-3BBD6C5DB2FE}" dt="2021-02-01T17:05:50.791" v="1089"/>
        <pc:sldMkLst>
          <pc:docMk/>
          <pc:sldMk cId="4134506492" sldId="391"/>
        </pc:sldMkLst>
        <pc:picChg chg="add">
          <ac:chgData name="Thomas Stensitzki" userId="75cafe6b-2f2a-469b-85c4-eec3b9c972ba" providerId="ADAL" clId="{9F9E9FDF-7C61-4792-941E-3BBD6C5DB2FE}" dt="2021-02-01T17:05:50.791" v="1089"/>
          <ac:picMkLst>
            <pc:docMk/>
            <pc:sldMk cId="4134506492" sldId="391"/>
            <ac:picMk id="17410" creationId="{EE942377-844A-497A-BCA1-1F49B9ADD376}"/>
          </ac:picMkLst>
        </pc:picChg>
      </pc:sldChg>
      <pc:sldChg chg="addSp modSp add mod ord modTransition">
        <pc:chgData name="Thomas Stensitzki" userId="75cafe6b-2f2a-469b-85c4-eec3b9c972ba" providerId="ADAL" clId="{9F9E9FDF-7C61-4792-941E-3BBD6C5DB2FE}" dt="2021-02-02T13:14:44.120" v="1777" actId="1076"/>
        <pc:sldMkLst>
          <pc:docMk/>
          <pc:sldMk cId="2708846828" sldId="392"/>
        </pc:sldMkLst>
        <pc:picChg chg="add mod">
          <ac:chgData name="Thomas Stensitzki" userId="75cafe6b-2f2a-469b-85c4-eec3b9c972ba" providerId="ADAL" clId="{9F9E9FDF-7C61-4792-941E-3BBD6C5DB2FE}" dt="2021-02-02T13:14:44.120" v="1777" actId="1076"/>
          <ac:picMkLst>
            <pc:docMk/>
            <pc:sldMk cId="2708846828" sldId="392"/>
            <ac:picMk id="4" creationId="{4F4D8847-2D1E-4810-BA5F-7518BE667DB4}"/>
          </ac:picMkLst>
        </pc:picChg>
      </pc:sldChg>
      <pc:sldChg chg="modSp add del mod modTransition modNotesTx">
        <pc:chgData name="Thomas Stensitzki" userId="75cafe6b-2f2a-469b-85c4-eec3b9c972ba" providerId="ADAL" clId="{9F9E9FDF-7C61-4792-941E-3BBD6C5DB2FE}" dt="2021-02-02T13:02:45.293" v="1708" actId="1440"/>
        <pc:sldMkLst>
          <pc:docMk/>
          <pc:sldMk cId="63085039" sldId="393"/>
        </pc:sldMkLst>
        <pc:spChg chg="mod">
          <ac:chgData name="Thomas Stensitzki" userId="75cafe6b-2f2a-469b-85c4-eec3b9c972ba" providerId="ADAL" clId="{9F9E9FDF-7C61-4792-941E-3BBD6C5DB2FE}" dt="2021-02-01T17:13:42.016" v="1157"/>
          <ac:spMkLst>
            <pc:docMk/>
            <pc:sldMk cId="63085039" sldId="393"/>
            <ac:spMk id="2" creationId="{50183ADD-E6D0-4570-B5FB-F95BA9130DEC}"/>
          </ac:spMkLst>
        </pc:spChg>
        <pc:picChg chg="mod">
          <ac:chgData name="Thomas Stensitzki" userId="75cafe6b-2f2a-469b-85c4-eec3b9c972ba" providerId="ADAL" clId="{9F9E9FDF-7C61-4792-941E-3BBD6C5DB2FE}" dt="2021-02-02T13:02:45.293" v="1708" actId="1440"/>
          <ac:picMkLst>
            <pc:docMk/>
            <pc:sldMk cId="63085039" sldId="393"/>
            <ac:picMk id="20482" creationId="{A212661B-E975-4803-8346-25C0D9EF720B}"/>
          </ac:picMkLst>
        </pc:picChg>
      </pc:sldChg>
      <pc:sldChg chg="addSp">
        <pc:chgData name="Thomas Stensitzki" userId="75cafe6b-2f2a-469b-85c4-eec3b9c972ba" providerId="ADAL" clId="{9F9E9FDF-7C61-4792-941E-3BBD6C5DB2FE}" dt="2021-02-01T17:14:23.385" v="1172"/>
        <pc:sldMkLst>
          <pc:docMk/>
          <pc:sldMk cId="4246133730" sldId="393"/>
        </pc:sldMkLst>
        <pc:picChg chg="add">
          <ac:chgData name="Thomas Stensitzki" userId="75cafe6b-2f2a-469b-85c4-eec3b9c972ba" providerId="ADAL" clId="{9F9E9FDF-7C61-4792-941E-3BBD6C5DB2FE}" dt="2021-02-01T17:14:23.385" v="1172"/>
          <ac:picMkLst>
            <pc:docMk/>
            <pc:sldMk cId="4246133730" sldId="393"/>
            <ac:picMk id="20482" creationId="{A212661B-E975-4803-8346-25C0D9EF720B}"/>
          </ac:picMkLst>
        </pc:picChg>
      </pc:sldChg>
      <pc:sldChg chg="addSp delSp modSp add mod ord modTransition modNotesTx">
        <pc:chgData name="Thomas Stensitzki" userId="75cafe6b-2f2a-469b-85c4-eec3b9c972ba" providerId="ADAL" clId="{9F9E9FDF-7C61-4792-941E-3BBD6C5DB2FE}" dt="2021-02-02T12:42:29.825" v="1681" actId="1076"/>
        <pc:sldMkLst>
          <pc:docMk/>
          <pc:sldMk cId="3125518215" sldId="394"/>
        </pc:sldMkLst>
        <pc:spChg chg="mod">
          <ac:chgData name="Thomas Stensitzki" userId="75cafe6b-2f2a-469b-85c4-eec3b9c972ba" providerId="ADAL" clId="{9F9E9FDF-7C61-4792-941E-3BBD6C5DB2FE}" dt="2021-02-01T16:58:35.704" v="924"/>
          <ac:spMkLst>
            <pc:docMk/>
            <pc:sldMk cId="3125518215" sldId="394"/>
            <ac:spMk id="2" creationId="{50183ADD-E6D0-4570-B5FB-F95BA9130DEC}"/>
          </ac:spMkLst>
        </pc:spChg>
        <pc:picChg chg="add del mod">
          <ac:chgData name="Thomas Stensitzki" userId="75cafe6b-2f2a-469b-85c4-eec3b9c972ba" providerId="ADAL" clId="{9F9E9FDF-7C61-4792-941E-3BBD6C5DB2FE}" dt="2021-02-01T17:12:37.007" v="1146"/>
          <ac:picMkLst>
            <pc:docMk/>
            <pc:sldMk cId="3125518215" sldId="394"/>
            <ac:picMk id="3" creationId="{F65C3E2C-D2FC-4DBB-A0C0-8BA9A3100F72}"/>
          </ac:picMkLst>
        </pc:picChg>
        <pc:picChg chg="add mod">
          <ac:chgData name="Thomas Stensitzki" userId="75cafe6b-2f2a-469b-85c4-eec3b9c972ba" providerId="ADAL" clId="{9F9E9FDF-7C61-4792-941E-3BBD6C5DB2FE}" dt="2021-02-02T12:42:29.825" v="1681" actId="1076"/>
          <ac:picMkLst>
            <pc:docMk/>
            <pc:sldMk cId="3125518215" sldId="394"/>
            <ac:picMk id="4" creationId="{12785D05-5E49-4868-B8E4-454539F5AA8A}"/>
          </ac:picMkLst>
        </pc:picChg>
      </pc:sldChg>
      <pc:sldChg chg="modSp add mod ord modTransition">
        <pc:chgData name="Thomas Stensitzki" userId="75cafe6b-2f2a-469b-85c4-eec3b9c972ba" providerId="ADAL" clId="{9F9E9FDF-7C61-4792-941E-3BBD6C5DB2FE}" dt="2021-02-02T13:18:53.187" v="1838"/>
        <pc:sldMkLst>
          <pc:docMk/>
          <pc:sldMk cId="3389754536" sldId="395"/>
        </pc:sldMkLst>
        <pc:spChg chg="mod">
          <ac:chgData name="Thomas Stensitzki" userId="75cafe6b-2f2a-469b-85c4-eec3b9c972ba" providerId="ADAL" clId="{9F9E9FDF-7C61-4792-941E-3BBD6C5DB2FE}" dt="2021-02-01T17:06:26.701" v="1097"/>
          <ac:spMkLst>
            <pc:docMk/>
            <pc:sldMk cId="3389754536" sldId="395"/>
            <ac:spMk id="2" creationId="{11E5EEC8-6493-4BA0-8811-4A3F48FE62AF}"/>
          </ac:spMkLst>
        </pc:spChg>
      </pc:sldChg>
      <pc:sldChg chg="add del modTransition">
        <pc:chgData name="Thomas Stensitzki" userId="75cafe6b-2f2a-469b-85c4-eec3b9c972ba" providerId="ADAL" clId="{9F9E9FDF-7C61-4792-941E-3BBD6C5DB2FE}" dt="2021-02-02T13:18:40.287" v="1835" actId="47"/>
        <pc:sldMkLst>
          <pc:docMk/>
          <pc:sldMk cId="293137779" sldId="396"/>
        </pc:sldMkLst>
      </pc:sldChg>
      <pc:sldChg chg="modSp add mod modTransition modNotesTx">
        <pc:chgData name="Thomas Stensitzki" userId="75cafe6b-2f2a-469b-85c4-eec3b9c972ba" providerId="ADAL" clId="{9F9E9FDF-7C61-4792-941E-3BBD6C5DB2FE}" dt="2021-02-02T13:19:08.353" v="1840" actId="20577"/>
        <pc:sldMkLst>
          <pc:docMk/>
          <pc:sldMk cId="3169144543" sldId="397"/>
        </pc:sldMkLst>
        <pc:spChg chg="mod">
          <ac:chgData name="Thomas Stensitzki" userId="75cafe6b-2f2a-469b-85c4-eec3b9c972ba" providerId="ADAL" clId="{9F9E9FDF-7C61-4792-941E-3BBD6C5DB2FE}" dt="2021-02-02T13:18:27.180" v="1834" actId="14100"/>
          <ac:spMkLst>
            <pc:docMk/>
            <pc:sldMk cId="3169144543" sldId="397"/>
            <ac:spMk id="2" creationId="{909DC09D-B9A6-4493-9A72-1CA7ECB1F5CA}"/>
          </ac:spMkLst>
        </pc:spChg>
        <pc:spChg chg="mod">
          <ac:chgData name="Thomas Stensitzki" userId="75cafe6b-2f2a-469b-85c4-eec3b9c972ba" providerId="ADAL" clId="{9F9E9FDF-7C61-4792-941E-3BBD6C5DB2FE}" dt="2021-02-01T17:25:07.974" v="1463" actId="20577"/>
          <ac:spMkLst>
            <pc:docMk/>
            <pc:sldMk cId="3169144543" sldId="397"/>
            <ac:spMk id="5" creationId="{C24DACB5-1BEC-4C86-9652-BAFD8DE56FEF}"/>
          </ac:spMkLst>
        </pc:spChg>
      </pc:sldChg>
      <pc:sldChg chg="modSp add mod modTransition modNotesTx">
        <pc:chgData name="Thomas Stensitzki" userId="75cafe6b-2f2a-469b-85c4-eec3b9c972ba" providerId="ADAL" clId="{9F9E9FDF-7C61-4792-941E-3BBD6C5DB2FE}" dt="2021-02-02T13:06:32.909" v="1757"/>
        <pc:sldMkLst>
          <pc:docMk/>
          <pc:sldMk cId="482102076" sldId="398"/>
        </pc:sldMkLst>
        <pc:spChg chg="mod">
          <ac:chgData name="Thomas Stensitzki" userId="75cafe6b-2f2a-469b-85c4-eec3b9c972ba" providerId="ADAL" clId="{9F9E9FDF-7C61-4792-941E-3BBD6C5DB2FE}" dt="2021-02-02T12:52:39.821" v="1694" actId="1036"/>
          <ac:spMkLst>
            <pc:docMk/>
            <pc:sldMk cId="482102076" sldId="398"/>
            <ac:spMk id="2" creationId="{909DC09D-B9A6-4493-9A72-1CA7ECB1F5CA}"/>
          </ac:spMkLst>
        </pc:spChg>
        <pc:spChg chg="mod">
          <ac:chgData name="Thomas Stensitzki" userId="75cafe6b-2f2a-469b-85c4-eec3b9c972ba" providerId="ADAL" clId="{9F9E9FDF-7C61-4792-941E-3BBD6C5DB2FE}" dt="2021-02-02T13:06:32.909" v="1757"/>
          <ac:spMkLst>
            <pc:docMk/>
            <pc:sldMk cId="482102076" sldId="398"/>
            <ac:spMk id="5" creationId="{C24DACB5-1BEC-4C86-9652-BAFD8DE56FEF}"/>
          </ac:spMkLst>
        </pc:spChg>
      </pc:sldChg>
      <pc:sldChg chg="addSp">
        <pc:chgData name="Thomas Stensitzki" userId="75cafe6b-2f2a-469b-85c4-eec3b9c972ba" providerId="ADAL" clId="{9F9E9FDF-7C61-4792-941E-3BBD6C5DB2FE}" dt="2021-02-01T17:28:31.521" v="1504"/>
        <pc:sldMkLst>
          <pc:docMk/>
          <pc:sldMk cId="3485267665" sldId="399"/>
        </pc:sldMkLst>
        <pc:picChg chg="add">
          <ac:chgData name="Thomas Stensitzki" userId="75cafe6b-2f2a-469b-85c4-eec3b9c972ba" providerId="ADAL" clId="{9F9E9FDF-7C61-4792-941E-3BBD6C5DB2FE}" dt="2021-02-01T17:28:31.521" v="1504"/>
          <ac:picMkLst>
            <pc:docMk/>
            <pc:sldMk cId="3485267665" sldId="399"/>
            <ac:picMk id="22530" creationId="{EF8A0CF6-EBB1-47C5-B089-EDBB735405DB}"/>
          </ac:picMkLst>
        </pc:picChg>
      </pc:sldChg>
      <pc:sldChg chg="modSp add del mod modTransition modNotesTx">
        <pc:chgData name="Thomas Stensitzki" userId="75cafe6b-2f2a-469b-85c4-eec3b9c972ba" providerId="ADAL" clId="{9F9E9FDF-7C61-4792-941E-3BBD6C5DB2FE}" dt="2021-02-02T13:05:23.236" v="1737" actId="1440"/>
        <pc:sldMkLst>
          <pc:docMk/>
          <pc:sldMk cId="3771242240" sldId="399"/>
        </pc:sldMkLst>
        <pc:spChg chg="mod">
          <ac:chgData name="Thomas Stensitzki" userId="75cafe6b-2f2a-469b-85c4-eec3b9c972ba" providerId="ADAL" clId="{9F9E9FDF-7C61-4792-941E-3BBD6C5DB2FE}" dt="2021-02-01T17:28:26.346" v="1503"/>
          <ac:spMkLst>
            <pc:docMk/>
            <pc:sldMk cId="3771242240" sldId="399"/>
            <ac:spMk id="2" creationId="{50183ADD-E6D0-4570-B5FB-F95BA9130DEC}"/>
          </ac:spMkLst>
        </pc:spChg>
        <pc:picChg chg="mod">
          <ac:chgData name="Thomas Stensitzki" userId="75cafe6b-2f2a-469b-85c4-eec3b9c972ba" providerId="ADAL" clId="{9F9E9FDF-7C61-4792-941E-3BBD6C5DB2FE}" dt="2021-02-02T13:05:23.236" v="1737" actId="1440"/>
          <ac:picMkLst>
            <pc:docMk/>
            <pc:sldMk cId="3771242240" sldId="399"/>
            <ac:picMk id="22530" creationId="{EF8A0CF6-EBB1-47C5-B089-EDBB735405DB}"/>
          </ac:picMkLst>
        </pc:picChg>
      </pc:sldChg>
      <pc:sldChg chg="addSp modSp add mod modTransition modAnim modNotesTx">
        <pc:chgData name="Thomas Stensitzki" userId="75cafe6b-2f2a-469b-85c4-eec3b9c972ba" providerId="ADAL" clId="{9F9E9FDF-7C61-4792-941E-3BBD6C5DB2FE}" dt="2021-02-02T13:04:36.215" v="1725" actId="14100"/>
        <pc:sldMkLst>
          <pc:docMk/>
          <pc:sldMk cId="425308375" sldId="400"/>
        </pc:sldMkLst>
        <pc:spChg chg="mod">
          <ac:chgData name="Thomas Stensitzki" userId="75cafe6b-2f2a-469b-85c4-eec3b9c972ba" providerId="ADAL" clId="{9F9E9FDF-7C61-4792-941E-3BBD6C5DB2FE}" dt="2021-02-01T17:15:38.954" v="1203" actId="20577"/>
          <ac:spMkLst>
            <pc:docMk/>
            <pc:sldMk cId="425308375" sldId="400"/>
            <ac:spMk id="2" creationId="{50183ADD-E6D0-4570-B5FB-F95BA9130DEC}"/>
          </ac:spMkLst>
        </pc:spChg>
        <pc:spChg chg="add mod">
          <ac:chgData name="Thomas Stensitzki" userId="75cafe6b-2f2a-469b-85c4-eec3b9c972ba" providerId="ADAL" clId="{9F9E9FDF-7C61-4792-941E-3BBD6C5DB2FE}" dt="2021-02-02T13:04:36.215" v="1725" actId="14100"/>
          <ac:spMkLst>
            <pc:docMk/>
            <pc:sldMk cId="425308375" sldId="400"/>
            <ac:spMk id="5" creationId="{FCF996B8-EE24-4322-A598-0FCE05AE77D5}"/>
          </ac:spMkLst>
        </pc:spChg>
        <pc:picChg chg="add mod">
          <ac:chgData name="Thomas Stensitzki" userId="75cafe6b-2f2a-469b-85c4-eec3b9c972ba" providerId="ADAL" clId="{9F9E9FDF-7C61-4792-941E-3BBD6C5DB2FE}" dt="2021-02-02T13:04:31.511" v="1724" actId="1076"/>
          <ac:picMkLst>
            <pc:docMk/>
            <pc:sldMk cId="425308375" sldId="400"/>
            <ac:picMk id="3" creationId="{8EB4E173-662F-417E-9197-857FCAF37B61}"/>
          </ac:picMkLst>
        </pc:picChg>
        <pc:picChg chg="add mod">
          <ac:chgData name="Thomas Stensitzki" userId="75cafe6b-2f2a-469b-85c4-eec3b9c972ba" providerId="ADAL" clId="{9F9E9FDF-7C61-4792-941E-3BBD6C5DB2FE}" dt="2021-02-02T13:03:23.633" v="1714" actId="1440"/>
          <ac:picMkLst>
            <pc:docMk/>
            <pc:sldMk cId="425308375" sldId="400"/>
            <ac:picMk id="4" creationId="{F4B40881-C338-4763-A029-3B7DC696DC34}"/>
          </ac:picMkLst>
        </pc:picChg>
      </pc:sldChg>
      <pc:sldChg chg="add del modTransition">
        <pc:chgData name="Thomas Stensitzki" userId="75cafe6b-2f2a-469b-85c4-eec3b9c972ba" providerId="ADAL" clId="{9F9E9FDF-7C61-4792-941E-3BBD6C5DB2FE}" dt="2021-02-02T13:06:41.388" v="1758" actId="47"/>
        <pc:sldMkLst>
          <pc:docMk/>
          <pc:sldMk cId="1085090997" sldId="401"/>
        </pc:sldMkLst>
      </pc:sldChg>
      <pc:sldChg chg="addSp">
        <pc:chgData name="Thomas Stensitzki" userId="75cafe6b-2f2a-469b-85c4-eec3b9c972ba" providerId="ADAL" clId="{9F9E9FDF-7C61-4792-941E-3BBD6C5DB2FE}" dt="2021-02-01T17:15:55.241" v="1207"/>
        <pc:sldMkLst>
          <pc:docMk/>
          <pc:sldMk cId="2128800882" sldId="402"/>
        </pc:sldMkLst>
        <pc:picChg chg="add">
          <ac:chgData name="Thomas Stensitzki" userId="75cafe6b-2f2a-469b-85c4-eec3b9c972ba" providerId="ADAL" clId="{9F9E9FDF-7C61-4792-941E-3BBD6C5DB2FE}" dt="2021-02-01T17:15:55.241" v="1207"/>
          <ac:picMkLst>
            <pc:docMk/>
            <pc:sldMk cId="2128800882" sldId="402"/>
            <ac:picMk id="21506" creationId="{C3C61B88-DA23-4330-B34D-216A1F942FEF}"/>
          </ac:picMkLst>
        </pc:picChg>
      </pc:sldChg>
      <pc:sldChg chg="addSp delSp modSp add del mod modTransition modAnim modNotesTx">
        <pc:chgData name="Thomas Stensitzki" userId="75cafe6b-2f2a-469b-85c4-eec3b9c972ba" providerId="ADAL" clId="{9F9E9FDF-7C61-4792-941E-3BBD6C5DB2FE}" dt="2021-02-02T13:07:04.146" v="1763"/>
        <pc:sldMkLst>
          <pc:docMk/>
          <pc:sldMk cId="3556353505" sldId="402"/>
        </pc:sldMkLst>
        <pc:spChg chg="mod">
          <ac:chgData name="Thomas Stensitzki" userId="75cafe6b-2f2a-469b-85c4-eec3b9c972ba" providerId="ADAL" clId="{9F9E9FDF-7C61-4792-941E-3BBD6C5DB2FE}" dt="2021-02-01T17:29:02.402" v="1507"/>
          <ac:spMkLst>
            <pc:docMk/>
            <pc:sldMk cId="3556353505" sldId="402"/>
            <ac:spMk id="2" creationId="{50183ADD-E6D0-4570-B5FB-F95BA9130DEC}"/>
          </ac:spMkLst>
        </pc:spChg>
        <pc:picChg chg="add del mod">
          <ac:chgData name="Thomas Stensitzki" userId="75cafe6b-2f2a-469b-85c4-eec3b9c972ba" providerId="ADAL" clId="{9F9E9FDF-7C61-4792-941E-3BBD6C5DB2FE}" dt="2021-02-01T17:17:41.325" v="1216" actId="478"/>
          <ac:picMkLst>
            <pc:docMk/>
            <pc:sldMk cId="3556353505" sldId="402"/>
            <ac:picMk id="4" creationId="{D96DA14E-1E36-4B14-B466-0A5021045F3D}"/>
          </ac:picMkLst>
        </pc:picChg>
        <pc:picChg chg="del mod">
          <ac:chgData name="Thomas Stensitzki" userId="75cafe6b-2f2a-469b-85c4-eec3b9c972ba" providerId="ADAL" clId="{9F9E9FDF-7C61-4792-941E-3BBD6C5DB2FE}" dt="2021-02-01T17:17:41.325" v="1216" actId="478"/>
          <ac:picMkLst>
            <pc:docMk/>
            <pc:sldMk cId="3556353505" sldId="402"/>
            <ac:picMk id="21506" creationId="{C3C61B88-DA23-4330-B34D-216A1F942FEF}"/>
          </ac:picMkLst>
        </pc:picChg>
        <pc:picChg chg="mod">
          <ac:chgData name="Thomas Stensitzki" userId="75cafe6b-2f2a-469b-85c4-eec3b9c972ba" providerId="ADAL" clId="{9F9E9FDF-7C61-4792-941E-3BBD6C5DB2FE}" dt="2021-02-02T13:06:51.055" v="1760" actId="1440"/>
          <ac:picMkLst>
            <pc:docMk/>
            <pc:sldMk cId="3556353505" sldId="402"/>
            <ac:picMk id="23554" creationId="{F5FDDD86-DAEF-47CB-9EDD-2FDD418290C6}"/>
          </ac:picMkLst>
        </pc:picChg>
        <pc:picChg chg="mod">
          <ac:chgData name="Thomas Stensitzki" userId="75cafe6b-2f2a-469b-85c4-eec3b9c972ba" providerId="ADAL" clId="{9F9E9FDF-7C61-4792-941E-3BBD6C5DB2FE}" dt="2021-02-02T13:06:59.503" v="1762" actId="1076"/>
          <ac:picMkLst>
            <pc:docMk/>
            <pc:sldMk cId="3556353505" sldId="402"/>
            <ac:picMk id="24578" creationId="{7AC08E14-008C-49B1-9CD0-E4AD1B6ED434}"/>
          </ac:picMkLst>
        </pc:picChg>
      </pc:sldChg>
      <pc:sldChg chg="addSp">
        <pc:chgData name="Thomas Stensitzki" userId="75cafe6b-2f2a-469b-85c4-eec3b9c972ba" providerId="ADAL" clId="{9F9E9FDF-7C61-4792-941E-3BBD6C5DB2FE}" dt="2021-02-01T17:29:38.916" v="1513"/>
        <pc:sldMkLst>
          <pc:docMk/>
          <pc:sldMk cId="3846898001" sldId="402"/>
        </pc:sldMkLst>
        <pc:picChg chg="add">
          <ac:chgData name="Thomas Stensitzki" userId="75cafe6b-2f2a-469b-85c4-eec3b9c972ba" providerId="ADAL" clId="{9F9E9FDF-7C61-4792-941E-3BBD6C5DB2FE}" dt="2021-02-01T17:29:38.916" v="1513"/>
          <ac:picMkLst>
            <pc:docMk/>
            <pc:sldMk cId="3846898001" sldId="402"/>
            <ac:picMk id="23554" creationId="{F5FDDD86-DAEF-47CB-9EDD-2FDD418290C6}"/>
          </ac:picMkLst>
        </pc:picChg>
      </pc:sldChg>
      <pc:sldChg chg="addSp">
        <pc:chgData name="Thomas Stensitzki" userId="75cafe6b-2f2a-469b-85c4-eec3b9c972ba" providerId="ADAL" clId="{9F9E9FDF-7C61-4792-941E-3BBD6C5DB2FE}" dt="2021-02-01T17:29:50.964" v="1517"/>
        <pc:sldMkLst>
          <pc:docMk/>
          <pc:sldMk cId="3942718026" sldId="402"/>
        </pc:sldMkLst>
        <pc:picChg chg="add">
          <ac:chgData name="Thomas Stensitzki" userId="75cafe6b-2f2a-469b-85c4-eec3b9c972ba" providerId="ADAL" clId="{9F9E9FDF-7C61-4792-941E-3BBD6C5DB2FE}" dt="2021-02-01T17:29:50.964" v="1517"/>
          <ac:picMkLst>
            <pc:docMk/>
            <pc:sldMk cId="3942718026" sldId="402"/>
            <ac:picMk id="24578" creationId="{7AC08E14-008C-49B1-9CD0-E4AD1B6ED434}"/>
          </ac:picMkLst>
        </pc:picChg>
      </pc:sldChg>
      <pc:sldChg chg="modSp add mod modTransition modNotesTx">
        <pc:chgData name="Thomas Stensitzki" userId="75cafe6b-2f2a-469b-85c4-eec3b9c972ba" providerId="ADAL" clId="{9F9E9FDF-7C61-4792-941E-3BBD6C5DB2FE}" dt="2021-02-02T13:19:58.795" v="1851" actId="6549"/>
        <pc:sldMkLst>
          <pc:docMk/>
          <pc:sldMk cId="3957297632" sldId="403"/>
        </pc:sldMkLst>
        <pc:spChg chg="mod">
          <ac:chgData name="Thomas Stensitzki" userId="75cafe6b-2f2a-469b-85c4-eec3b9c972ba" providerId="ADAL" clId="{9F9E9FDF-7C61-4792-941E-3BBD6C5DB2FE}" dt="2021-02-02T13:19:55.688" v="1850" actId="1076"/>
          <ac:spMkLst>
            <pc:docMk/>
            <pc:sldMk cId="3957297632" sldId="403"/>
            <ac:spMk id="2" creationId="{909DC09D-B9A6-4493-9A72-1CA7ECB1F5CA}"/>
          </ac:spMkLst>
        </pc:spChg>
        <pc:spChg chg="mod">
          <ac:chgData name="Thomas Stensitzki" userId="75cafe6b-2f2a-469b-85c4-eec3b9c972ba" providerId="ADAL" clId="{9F9E9FDF-7C61-4792-941E-3BBD6C5DB2FE}" dt="2021-02-01T17:27:36.898" v="1480" actId="20577"/>
          <ac:spMkLst>
            <pc:docMk/>
            <pc:sldMk cId="3957297632" sldId="403"/>
            <ac:spMk id="5" creationId="{C24DACB5-1BEC-4C86-9652-BAFD8DE56FEF}"/>
          </ac:spMkLst>
        </pc:spChg>
      </pc:sldChg>
      <pc:sldChg chg="modSp add mod ord">
        <pc:chgData name="Thomas Stensitzki" userId="75cafe6b-2f2a-469b-85c4-eec3b9c972ba" providerId="ADAL" clId="{9F9E9FDF-7C61-4792-941E-3BBD6C5DB2FE}" dt="2021-02-02T12:16:28.806" v="1544" actId="1076"/>
        <pc:sldMkLst>
          <pc:docMk/>
          <pc:sldMk cId="4270566703" sldId="404"/>
        </pc:sldMkLst>
        <pc:spChg chg="mod">
          <ac:chgData name="Thomas Stensitzki" userId="75cafe6b-2f2a-469b-85c4-eec3b9c972ba" providerId="ADAL" clId="{9F9E9FDF-7C61-4792-941E-3BBD6C5DB2FE}" dt="2021-02-02T12:16:28.806" v="1544" actId="1076"/>
          <ac:spMkLst>
            <pc:docMk/>
            <pc:sldMk cId="4270566703" sldId="404"/>
            <ac:spMk id="2" creationId="{909DC09D-B9A6-4493-9A72-1CA7ECB1F5CA}"/>
          </ac:spMkLst>
        </pc:spChg>
      </pc:sldChg>
      <pc:sldChg chg="modSp add mod">
        <pc:chgData name="Thomas Stensitzki" userId="75cafe6b-2f2a-469b-85c4-eec3b9c972ba" providerId="ADAL" clId="{9F9E9FDF-7C61-4792-941E-3BBD6C5DB2FE}" dt="2021-02-02T12:16:50.712" v="1547" actId="14100"/>
        <pc:sldMkLst>
          <pc:docMk/>
          <pc:sldMk cId="21006271" sldId="405"/>
        </pc:sldMkLst>
        <pc:spChg chg="mod">
          <ac:chgData name="Thomas Stensitzki" userId="75cafe6b-2f2a-469b-85c4-eec3b9c972ba" providerId="ADAL" clId="{9F9E9FDF-7C61-4792-941E-3BBD6C5DB2FE}" dt="2021-02-02T12:16:50.712" v="1547" actId="14100"/>
          <ac:spMkLst>
            <pc:docMk/>
            <pc:sldMk cId="21006271" sldId="405"/>
            <ac:spMk id="2" creationId="{909DC09D-B9A6-4493-9A72-1CA7ECB1F5CA}"/>
          </ac:spMkLst>
        </pc:spChg>
      </pc:sldChg>
      <pc:sldChg chg="modSp add mod ord">
        <pc:chgData name="Thomas Stensitzki" userId="75cafe6b-2f2a-469b-85c4-eec3b9c972ba" providerId="ADAL" clId="{9F9E9FDF-7C61-4792-941E-3BBD6C5DB2FE}" dt="2021-02-02T12:18:30.841" v="1558" actId="1076"/>
        <pc:sldMkLst>
          <pc:docMk/>
          <pc:sldMk cId="550572939" sldId="406"/>
        </pc:sldMkLst>
        <pc:spChg chg="mod">
          <ac:chgData name="Thomas Stensitzki" userId="75cafe6b-2f2a-469b-85c4-eec3b9c972ba" providerId="ADAL" clId="{9F9E9FDF-7C61-4792-941E-3BBD6C5DB2FE}" dt="2021-02-02T12:18:30.841" v="1558" actId="1076"/>
          <ac:spMkLst>
            <pc:docMk/>
            <pc:sldMk cId="550572939" sldId="406"/>
            <ac:spMk id="2" creationId="{909DC09D-B9A6-4493-9A72-1CA7ECB1F5CA}"/>
          </ac:spMkLst>
        </pc:spChg>
      </pc:sldChg>
      <pc:sldChg chg="add del">
        <pc:chgData name="Thomas Stensitzki" userId="75cafe6b-2f2a-469b-85c4-eec3b9c972ba" providerId="ADAL" clId="{9F9E9FDF-7C61-4792-941E-3BBD6C5DB2FE}" dt="2021-02-02T12:20:47.203" v="1564" actId="22"/>
        <pc:sldMkLst>
          <pc:docMk/>
          <pc:sldMk cId="1044965248" sldId="407"/>
        </pc:sldMkLst>
      </pc:sldChg>
      <pc:sldChg chg="modSp add mod ord">
        <pc:chgData name="Thomas Stensitzki" userId="75cafe6b-2f2a-469b-85c4-eec3b9c972ba" providerId="ADAL" clId="{9F9E9FDF-7C61-4792-941E-3BBD6C5DB2FE}" dt="2021-02-02T12:21:01.223" v="1569" actId="14100"/>
        <pc:sldMkLst>
          <pc:docMk/>
          <pc:sldMk cId="3064330710" sldId="407"/>
        </pc:sldMkLst>
        <pc:spChg chg="mod">
          <ac:chgData name="Thomas Stensitzki" userId="75cafe6b-2f2a-469b-85c4-eec3b9c972ba" providerId="ADAL" clId="{9F9E9FDF-7C61-4792-941E-3BBD6C5DB2FE}" dt="2021-02-02T12:21:01.223" v="1569" actId="14100"/>
          <ac:spMkLst>
            <pc:docMk/>
            <pc:sldMk cId="3064330710" sldId="407"/>
            <ac:spMk id="2" creationId="{909DC09D-B9A6-4493-9A72-1CA7ECB1F5CA}"/>
          </ac:spMkLst>
        </pc:spChg>
      </pc:sldChg>
      <pc:sldChg chg="modSp add mod ord modNotesTx">
        <pc:chgData name="Thomas Stensitzki" userId="75cafe6b-2f2a-469b-85c4-eec3b9c972ba" providerId="ADAL" clId="{9F9E9FDF-7C61-4792-941E-3BBD6C5DB2FE}" dt="2021-02-02T12:25:10.336" v="1607" actId="20577"/>
        <pc:sldMkLst>
          <pc:docMk/>
          <pc:sldMk cId="1323954105" sldId="408"/>
        </pc:sldMkLst>
        <pc:spChg chg="mod">
          <ac:chgData name="Thomas Stensitzki" userId="75cafe6b-2f2a-469b-85c4-eec3b9c972ba" providerId="ADAL" clId="{9F9E9FDF-7C61-4792-941E-3BBD6C5DB2FE}" dt="2021-02-02T12:25:08.442" v="1606" actId="1076"/>
          <ac:spMkLst>
            <pc:docMk/>
            <pc:sldMk cId="1323954105" sldId="408"/>
            <ac:spMk id="2" creationId="{909DC09D-B9A6-4493-9A72-1CA7ECB1F5CA}"/>
          </ac:spMkLst>
        </pc:spChg>
      </pc:sldChg>
      <pc:sldChg chg="add del ord">
        <pc:chgData name="Thomas Stensitzki" userId="75cafe6b-2f2a-469b-85c4-eec3b9c972ba" providerId="ADAL" clId="{9F9E9FDF-7C61-4792-941E-3BBD6C5DB2FE}" dt="2021-02-02T12:24:36.836" v="1601" actId="47"/>
        <pc:sldMkLst>
          <pc:docMk/>
          <pc:sldMk cId="2400166738" sldId="408"/>
        </pc:sldMkLst>
      </pc:sldChg>
      <pc:sldChg chg="modSp add mod ord modTransition">
        <pc:chgData name="Thomas Stensitzki" userId="75cafe6b-2f2a-469b-85c4-eec3b9c972ba" providerId="ADAL" clId="{9F9E9FDF-7C61-4792-941E-3BBD6C5DB2FE}" dt="2021-02-02T12:28:48.157" v="1628" actId="14100"/>
        <pc:sldMkLst>
          <pc:docMk/>
          <pc:sldMk cId="974386544" sldId="409"/>
        </pc:sldMkLst>
        <pc:spChg chg="mod">
          <ac:chgData name="Thomas Stensitzki" userId="75cafe6b-2f2a-469b-85c4-eec3b9c972ba" providerId="ADAL" clId="{9F9E9FDF-7C61-4792-941E-3BBD6C5DB2FE}" dt="2021-02-02T12:28:48.157" v="1628" actId="14100"/>
          <ac:spMkLst>
            <pc:docMk/>
            <pc:sldMk cId="974386544" sldId="409"/>
            <ac:spMk id="2" creationId="{909DC09D-B9A6-4493-9A72-1CA7ECB1F5CA}"/>
          </ac:spMkLst>
        </pc:spChg>
      </pc:sldChg>
      <pc:sldChg chg="modSp add mod ord">
        <pc:chgData name="Thomas Stensitzki" userId="75cafe6b-2f2a-469b-85c4-eec3b9c972ba" providerId="ADAL" clId="{9F9E9FDF-7C61-4792-941E-3BBD6C5DB2FE}" dt="2021-02-02T12:30:11.295" v="1643" actId="14100"/>
        <pc:sldMkLst>
          <pc:docMk/>
          <pc:sldMk cId="179439695" sldId="410"/>
        </pc:sldMkLst>
        <pc:spChg chg="mod">
          <ac:chgData name="Thomas Stensitzki" userId="75cafe6b-2f2a-469b-85c4-eec3b9c972ba" providerId="ADAL" clId="{9F9E9FDF-7C61-4792-941E-3BBD6C5DB2FE}" dt="2021-02-02T12:30:11.295" v="1643" actId="14100"/>
          <ac:spMkLst>
            <pc:docMk/>
            <pc:sldMk cId="179439695" sldId="410"/>
            <ac:spMk id="2" creationId="{909DC09D-B9A6-4493-9A72-1CA7ECB1F5CA}"/>
          </ac:spMkLst>
        </pc:spChg>
      </pc:sldChg>
      <pc:sldChg chg="modSp add mod ord">
        <pc:chgData name="Thomas Stensitzki" userId="75cafe6b-2f2a-469b-85c4-eec3b9c972ba" providerId="ADAL" clId="{9F9E9FDF-7C61-4792-941E-3BBD6C5DB2FE}" dt="2021-02-02T12:41:07.474" v="1659" actId="14100"/>
        <pc:sldMkLst>
          <pc:docMk/>
          <pc:sldMk cId="3385880885" sldId="411"/>
        </pc:sldMkLst>
        <pc:spChg chg="mod">
          <ac:chgData name="Thomas Stensitzki" userId="75cafe6b-2f2a-469b-85c4-eec3b9c972ba" providerId="ADAL" clId="{9F9E9FDF-7C61-4792-941E-3BBD6C5DB2FE}" dt="2021-02-02T12:41:07.474" v="1659" actId="14100"/>
          <ac:spMkLst>
            <pc:docMk/>
            <pc:sldMk cId="3385880885" sldId="411"/>
            <ac:spMk id="2" creationId="{909DC09D-B9A6-4493-9A72-1CA7ECB1F5CA}"/>
          </ac:spMkLst>
        </pc:spChg>
      </pc:sldChg>
      <pc:sldChg chg="modSp add mod ord">
        <pc:chgData name="Thomas Stensitzki" userId="75cafe6b-2f2a-469b-85c4-eec3b9c972ba" providerId="ADAL" clId="{9F9E9FDF-7C61-4792-941E-3BBD6C5DB2FE}" dt="2021-02-02T12:41:38.118" v="1670" actId="14100"/>
        <pc:sldMkLst>
          <pc:docMk/>
          <pc:sldMk cId="439447182" sldId="412"/>
        </pc:sldMkLst>
        <pc:spChg chg="mod">
          <ac:chgData name="Thomas Stensitzki" userId="75cafe6b-2f2a-469b-85c4-eec3b9c972ba" providerId="ADAL" clId="{9F9E9FDF-7C61-4792-941E-3BBD6C5DB2FE}" dt="2021-02-02T12:41:38.118" v="1670" actId="14100"/>
          <ac:spMkLst>
            <pc:docMk/>
            <pc:sldMk cId="439447182" sldId="412"/>
            <ac:spMk id="2" creationId="{909DC09D-B9A6-4493-9A72-1CA7ECB1F5CA}"/>
          </ac:spMkLst>
        </pc:spChg>
      </pc:sldChg>
      <pc:sldChg chg="modSp add mod ord">
        <pc:chgData name="Thomas Stensitzki" userId="75cafe6b-2f2a-469b-85c4-eec3b9c972ba" providerId="ADAL" clId="{9F9E9FDF-7C61-4792-941E-3BBD6C5DB2FE}" dt="2021-02-02T12:42:15.645" v="1677" actId="1076"/>
        <pc:sldMkLst>
          <pc:docMk/>
          <pc:sldMk cId="2971012066" sldId="413"/>
        </pc:sldMkLst>
        <pc:spChg chg="mod">
          <ac:chgData name="Thomas Stensitzki" userId="75cafe6b-2f2a-469b-85c4-eec3b9c972ba" providerId="ADAL" clId="{9F9E9FDF-7C61-4792-941E-3BBD6C5DB2FE}" dt="2021-02-02T12:42:15.645" v="1677" actId="1076"/>
          <ac:spMkLst>
            <pc:docMk/>
            <pc:sldMk cId="2971012066" sldId="413"/>
            <ac:spMk id="2" creationId="{909DC09D-B9A6-4493-9A72-1CA7ECB1F5CA}"/>
          </ac:spMkLst>
        </pc:spChg>
      </pc:sldChg>
      <pc:sldChg chg="modSp add mod ord">
        <pc:chgData name="Thomas Stensitzki" userId="75cafe6b-2f2a-469b-85c4-eec3b9c972ba" providerId="ADAL" clId="{9F9E9FDF-7C61-4792-941E-3BBD6C5DB2FE}" dt="2021-02-02T12:52:08.234" v="1685" actId="1076"/>
        <pc:sldMkLst>
          <pc:docMk/>
          <pc:sldMk cId="1183984408" sldId="414"/>
        </pc:sldMkLst>
        <pc:spChg chg="mod">
          <ac:chgData name="Thomas Stensitzki" userId="75cafe6b-2f2a-469b-85c4-eec3b9c972ba" providerId="ADAL" clId="{9F9E9FDF-7C61-4792-941E-3BBD6C5DB2FE}" dt="2021-02-02T12:52:08.234" v="1685" actId="1076"/>
          <ac:spMkLst>
            <pc:docMk/>
            <pc:sldMk cId="1183984408" sldId="414"/>
            <ac:spMk id="2" creationId="{909DC09D-B9A6-4493-9A72-1CA7ECB1F5CA}"/>
          </ac:spMkLst>
        </pc:spChg>
      </pc:sldChg>
      <pc:sldChg chg="modSp add mod ord modTransition">
        <pc:chgData name="Thomas Stensitzki" userId="75cafe6b-2f2a-469b-85c4-eec3b9c972ba" providerId="ADAL" clId="{9F9E9FDF-7C61-4792-941E-3BBD6C5DB2FE}" dt="2021-02-02T13:06:28.027" v="1756"/>
        <pc:sldMkLst>
          <pc:docMk/>
          <pc:sldMk cId="1388017731" sldId="415"/>
        </pc:sldMkLst>
        <pc:spChg chg="mod">
          <ac:chgData name="Thomas Stensitzki" userId="75cafe6b-2f2a-469b-85c4-eec3b9c972ba" providerId="ADAL" clId="{9F9E9FDF-7C61-4792-941E-3BBD6C5DB2FE}" dt="2021-02-02T13:02:33.697" v="1707" actId="1076"/>
          <ac:spMkLst>
            <pc:docMk/>
            <pc:sldMk cId="1388017731" sldId="415"/>
            <ac:spMk id="2" creationId="{909DC09D-B9A6-4493-9A72-1CA7ECB1F5CA}"/>
          </ac:spMkLst>
        </pc:spChg>
        <pc:spChg chg="mod">
          <ac:chgData name="Thomas Stensitzki" userId="75cafe6b-2f2a-469b-85c4-eec3b9c972ba" providerId="ADAL" clId="{9F9E9FDF-7C61-4792-941E-3BBD6C5DB2FE}" dt="2021-02-02T13:06:28.027" v="1756"/>
          <ac:spMkLst>
            <pc:docMk/>
            <pc:sldMk cId="1388017731" sldId="415"/>
            <ac:spMk id="5" creationId="{C24DACB5-1BEC-4C86-9652-BAFD8DE56FEF}"/>
          </ac:spMkLst>
        </pc:spChg>
      </pc:sldChg>
      <pc:sldChg chg="modSp add mod ord">
        <pc:chgData name="Thomas Stensitzki" userId="75cafe6b-2f2a-469b-85c4-eec3b9c972ba" providerId="ADAL" clId="{9F9E9FDF-7C61-4792-941E-3BBD6C5DB2FE}" dt="2021-02-02T13:06:23.328" v="1755"/>
        <pc:sldMkLst>
          <pc:docMk/>
          <pc:sldMk cId="1390187629" sldId="416"/>
        </pc:sldMkLst>
        <pc:spChg chg="mod">
          <ac:chgData name="Thomas Stensitzki" userId="75cafe6b-2f2a-469b-85c4-eec3b9c972ba" providerId="ADAL" clId="{9F9E9FDF-7C61-4792-941E-3BBD6C5DB2FE}" dt="2021-02-02T13:04:55.161" v="1730" actId="14100"/>
          <ac:spMkLst>
            <pc:docMk/>
            <pc:sldMk cId="1390187629" sldId="416"/>
            <ac:spMk id="2" creationId="{909DC09D-B9A6-4493-9A72-1CA7ECB1F5CA}"/>
          </ac:spMkLst>
        </pc:spChg>
        <pc:spChg chg="mod">
          <ac:chgData name="Thomas Stensitzki" userId="75cafe6b-2f2a-469b-85c4-eec3b9c972ba" providerId="ADAL" clId="{9F9E9FDF-7C61-4792-941E-3BBD6C5DB2FE}" dt="2021-02-02T13:06:23.328" v="1755"/>
          <ac:spMkLst>
            <pc:docMk/>
            <pc:sldMk cId="1390187629" sldId="416"/>
            <ac:spMk id="5" creationId="{C24DACB5-1BEC-4C86-9652-BAFD8DE56FEF}"/>
          </ac:spMkLst>
        </pc:spChg>
      </pc:sldChg>
      <pc:sldChg chg="add del ord">
        <pc:chgData name="Thomas Stensitzki" userId="75cafe6b-2f2a-469b-85c4-eec3b9c972ba" providerId="ADAL" clId="{9F9E9FDF-7C61-4792-941E-3BBD6C5DB2FE}" dt="2021-02-02T13:05:00.073" v="1731" actId="47"/>
        <pc:sldMkLst>
          <pc:docMk/>
          <pc:sldMk cId="2205660386" sldId="417"/>
        </pc:sldMkLst>
      </pc:sldChg>
      <pc:sldChg chg="modSp add mod ord">
        <pc:chgData name="Thomas Stensitzki" userId="75cafe6b-2f2a-469b-85c4-eec3b9c972ba" providerId="ADAL" clId="{9F9E9FDF-7C61-4792-941E-3BBD6C5DB2FE}" dt="2021-02-02T13:06:11.123" v="1753" actId="20577"/>
        <pc:sldMkLst>
          <pc:docMk/>
          <pc:sldMk cId="3737910627" sldId="417"/>
        </pc:sldMkLst>
        <pc:spChg chg="mod">
          <ac:chgData name="Thomas Stensitzki" userId="75cafe6b-2f2a-469b-85c4-eec3b9c972ba" providerId="ADAL" clId="{9F9E9FDF-7C61-4792-941E-3BBD6C5DB2FE}" dt="2021-02-02T13:05:11.384" v="1735" actId="1076"/>
          <ac:spMkLst>
            <pc:docMk/>
            <pc:sldMk cId="3737910627" sldId="417"/>
            <ac:spMk id="2" creationId="{909DC09D-B9A6-4493-9A72-1CA7ECB1F5CA}"/>
          </ac:spMkLst>
        </pc:spChg>
        <pc:spChg chg="mod">
          <ac:chgData name="Thomas Stensitzki" userId="75cafe6b-2f2a-469b-85c4-eec3b9c972ba" providerId="ADAL" clId="{9F9E9FDF-7C61-4792-941E-3BBD6C5DB2FE}" dt="2021-02-02T13:06:11.123" v="1753" actId="20577"/>
          <ac:spMkLst>
            <pc:docMk/>
            <pc:sldMk cId="3737910627" sldId="417"/>
            <ac:spMk id="5" creationId="{C24DACB5-1BEC-4C86-9652-BAFD8DE56FEF}"/>
          </ac:spMkLst>
        </pc:spChg>
      </pc:sldChg>
      <pc:sldChg chg="modSp add mod ord">
        <pc:chgData name="Thomas Stensitzki" userId="75cafe6b-2f2a-469b-85c4-eec3b9c972ba" providerId="ADAL" clId="{9F9E9FDF-7C61-4792-941E-3BBD6C5DB2FE}" dt="2021-02-02T13:06:19.924" v="1754"/>
        <pc:sldMkLst>
          <pc:docMk/>
          <pc:sldMk cId="1540827525" sldId="418"/>
        </pc:sldMkLst>
        <pc:spChg chg="mod">
          <ac:chgData name="Thomas Stensitzki" userId="75cafe6b-2f2a-469b-85c4-eec3b9c972ba" providerId="ADAL" clId="{9F9E9FDF-7C61-4792-941E-3BBD6C5DB2FE}" dt="2021-02-02T13:05:33.942" v="1741" actId="1076"/>
          <ac:spMkLst>
            <pc:docMk/>
            <pc:sldMk cId="1540827525" sldId="418"/>
            <ac:spMk id="2" creationId="{909DC09D-B9A6-4493-9A72-1CA7ECB1F5CA}"/>
          </ac:spMkLst>
        </pc:spChg>
        <pc:spChg chg="mod">
          <ac:chgData name="Thomas Stensitzki" userId="75cafe6b-2f2a-469b-85c4-eec3b9c972ba" providerId="ADAL" clId="{9F9E9FDF-7C61-4792-941E-3BBD6C5DB2FE}" dt="2021-02-02T13:06:19.924" v="1754"/>
          <ac:spMkLst>
            <pc:docMk/>
            <pc:sldMk cId="1540827525" sldId="418"/>
            <ac:spMk id="5" creationId="{C24DACB5-1BEC-4C86-9652-BAFD8DE56FEF}"/>
          </ac:spMkLst>
        </pc:spChg>
      </pc:sldChg>
      <pc:sldChg chg="modSp add mod">
        <pc:chgData name="Thomas Stensitzki" userId="75cafe6b-2f2a-469b-85c4-eec3b9c972ba" providerId="ADAL" clId="{9F9E9FDF-7C61-4792-941E-3BBD6C5DB2FE}" dt="2021-02-02T13:14:12.513" v="1768" actId="14100"/>
        <pc:sldMkLst>
          <pc:docMk/>
          <pc:sldMk cId="2335610676" sldId="419"/>
        </pc:sldMkLst>
        <pc:spChg chg="mod">
          <ac:chgData name="Thomas Stensitzki" userId="75cafe6b-2f2a-469b-85c4-eec3b9c972ba" providerId="ADAL" clId="{9F9E9FDF-7C61-4792-941E-3BBD6C5DB2FE}" dt="2021-02-02T13:14:12.513" v="1768" actId="14100"/>
          <ac:spMkLst>
            <pc:docMk/>
            <pc:sldMk cId="2335610676" sldId="419"/>
            <ac:spMk id="2" creationId="{909DC09D-B9A6-4493-9A72-1CA7ECB1F5CA}"/>
          </ac:spMkLst>
        </pc:spChg>
      </pc:sldChg>
      <pc:sldChg chg="modSp add mod">
        <pc:chgData name="Thomas Stensitzki" userId="75cafe6b-2f2a-469b-85c4-eec3b9c972ba" providerId="ADAL" clId="{9F9E9FDF-7C61-4792-941E-3BBD6C5DB2FE}" dt="2021-02-02T13:14:25.084" v="1771" actId="14100"/>
        <pc:sldMkLst>
          <pc:docMk/>
          <pc:sldMk cId="1865896873" sldId="420"/>
        </pc:sldMkLst>
        <pc:spChg chg="mod">
          <ac:chgData name="Thomas Stensitzki" userId="75cafe6b-2f2a-469b-85c4-eec3b9c972ba" providerId="ADAL" clId="{9F9E9FDF-7C61-4792-941E-3BBD6C5DB2FE}" dt="2021-02-02T13:14:25.084" v="1771" actId="14100"/>
          <ac:spMkLst>
            <pc:docMk/>
            <pc:sldMk cId="1865896873" sldId="420"/>
            <ac:spMk id="2" creationId="{909DC09D-B9A6-4493-9A72-1CA7ECB1F5CA}"/>
          </ac:spMkLst>
        </pc:spChg>
      </pc:sldChg>
      <pc:sldChg chg="modSp add mod">
        <pc:chgData name="Thomas Stensitzki" userId="75cafe6b-2f2a-469b-85c4-eec3b9c972ba" providerId="ADAL" clId="{9F9E9FDF-7C61-4792-941E-3BBD6C5DB2FE}" dt="2021-02-02T13:15:02.889" v="1779" actId="1076"/>
        <pc:sldMkLst>
          <pc:docMk/>
          <pc:sldMk cId="1524395293" sldId="421"/>
        </pc:sldMkLst>
        <pc:spChg chg="mod">
          <ac:chgData name="Thomas Stensitzki" userId="75cafe6b-2f2a-469b-85c4-eec3b9c972ba" providerId="ADAL" clId="{9F9E9FDF-7C61-4792-941E-3BBD6C5DB2FE}" dt="2021-02-02T13:15:02.889" v="1779" actId="1076"/>
          <ac:spMkLst>
            <pc:docMk/>
            <pc:sldMk cId="1524395293" sldId="421"/>
            <ac:spMk id="2" creationId="{909DC09D-B9A6-4493-9A72-1CA7ECB1F5CA}"/>
          </ac:spMkLst>
        </pc:spChg>
      </pc:sldChg>
      <pc:sldChg chg="addSp delSp modSp add mod modAnim">
        <pc:chgData name="Thomas Stensitzki" userId="75cafe6b-2f2a-469b-85c4-eec3b9c972ba" providerId="ADAL" clId="{9F9E9FDF-7C61-4792-941E-3BBD6C5DB2FE}" dt="2021-02-02T13:18:15.918" v="1832"/>
        <pc:sldMkLst>
          <pc:docMk/>
          <pc:sldMk cId="1280545839" sldId="422"/>
        </pc:sldMkLst>
        <pc:spChg chg="add mod">
          <ac:chgData name="Thomas Stensitzki" userId="75cafe6b-2f2a-469b-85c4-eec3b9c972ba" providerId="ADAL" clId="{9F9E9FDF-7C61-4792-941E-3BBD6C5DB2FE}" dt="2021-02-02T13:17:28.456" v="1810" actId="14100"/>
          <ac:spMkLst>
            <pc:docMk/>
            <pc:sldMk cId="1280545839" sldId="422"/>
            <ac:spMk id="7" creationId="{C6191598-7775-4D95-899B-0E2D0541313F}"/>
          </ac:spMkLst>
        </pc:spChg>
        <pc:picChg chg="del">
          <ac:chgData name="Thomas Stensitzki" userId="75cafe6b-2f2a-469b-85c4-eec3b9c972ba" providerId="ADAL" clId="{9F9E9FDF-7C61-4792-941E-3BBD6C5DB2FE}" dt="2021-02-02T13:16:43.441" v="1800" actId="478"/>
          <ac:picMkLst>
            <pc:docMk/>
            <pc:sldMk cId="1280545839" sldId="422"/>
            <ac:picMk id="15362" creationId="{B90975DC-5162-4F41-B5F2-BBBE15E2112E}"/>
          </ac:picMkLst>
        </pc:picChg>
        <pc:picChg chg="del">
          <ac:chgData name="Thomas Stensitzki" userId="75cafe6b-2f2a-469b-85c4-eec3b9c972ba" providerId="ADAL" clId="{9F9E9FDF-7C61-4792-941E-3BBD6C5DB2FE}" dt="2021-02-02T13:16:44.071" v="1801" actId="478"/>
          <ac:picMkLst>
            <pc:docMk/>
            <pc:sldMk cId="1280545839" sldId="422"/>
            <ac:picMk id="16386" creationId="{F2A275E7-9123-49B8-915C-3A94852B1686}"/>
          </ac:picMkLst>
        </pc:picChg>
        <pc:picChg chg="mod">
          <ac:chgData name="Thomas Stensitzki" userId="75cafe6b-2f2a-469b-85c4-eec3b9c972ba" providerId="ADAL" clId="{9F9E9FDF-7C61-4792-941E-3BBD6C5DB2FE}" dt="2021-02-02T13:16:46.311" v="1802" actId="1076"/>
          <ac:picMkLst>
            <pc:docMk/>
            <pc:sldMk cId="1280545839" sldId="422"/>
            <ac:picMk id="17410" creationId="{EE942377-844A-497A-BCA1-1F49B9ADD376}"/>
          </ac:picMkLst>
        </pc:picChg>
        <pc:picChg chg="mod">
          <ac:chgData name="Thomas Stensitzki" userId="75cafe6b-2f2a-469b-85c4-eec3b9c972ba" providerId="ADAL" clId="{9F9E9FDF-7C61-4792-941E-3BBD6C5DB2FE}" dt="2021-02-02T13:16:50.835" v="1803" actId="1076"/>
          <ac:picMkLst>
            <pc:docMk/>
            <pc:sldMk cId="1280545839" sldId="422"/>
            <ac:picMk id="18434" creationId="{E18917D5-462E-425F-B1A7-02E0FDB5393A}"/>
          </ac:picMkLst>
        </pc:picChg>
      </pc:sldChg>
      <pc:sldChg chg="modSp add mod">
        <pc:chgData name="Thomas Stensitzki" userId="75cafe6b-2f2a-469b-85c4-eec3b9c972ba" providerId="ADAL" clId="{9F9E9FDF-7C61-4792-941E-3BBD6C5DB2FE}" dt="2021-02-02T13:18:59.786" v="1839" actId="1076"/>
        <pc:sldMkLst>
          <pc:docMk/>
          <pc:sldMk cId="3310606032" sldId="423"/>
        </pc:sldMkLst>
        <pc:spChg chg="mod">
          <ac:chgData name="Thomas Stensitzki" userId="75cafe6b-2f2a-469b-85c4-eec3b9c972ba" providerId="ADAL" clId="{9F9E9FDF-7C61-4792-941E-3BBD6C5DB2FE}" dt="2021-02-02T13:18:59.786" v="1839" actId="1076"/>
          <ac:spMkLst>
            <pc:docMk/>
            <pc:sldMk cId="3310606032" sldId="423"/>
            <ac:spMk id="2" creationId="{909DC09D-B9A6-4493-9A72-1CA7ECB1F5CA}"/>
          </ac:spMkLst>
        </pc:spChg>
      </pc:sldChg>
      <pc:sldChg chg="modSp add mod modNotesTx">
        <pc:chgData name="Thomas Stensitzki" userId="75cafe6b-2f2a-469b-85c4-eec3b9c972ba" providerId="ADAL" clId="{9F9E9FDF-7C61-4792-941E-3BBD6C5DB2FE}" dt="2021-02-02T13:19:27.066" v="1845" actId="14100"/>
        <pc:sldMkLst>
          <pc:docMk/>
          <pc:sldMk cId="2775711133" sldId="424"/>
        </pc:sldMkLst>
        <pc:spChg chg="mod">
          <ac:chgData name="Thomas Stensitzki" userId="75cafe6b-2f2a-469b-85c4-eec3b9c972ba" providerId="ADAL" clId="{9F9E9FDF-7C61-4792-941E-3BBD6C5DB2FE}" dt="2021-02-02T13:19:27.066" v="1845" actId="14100"/>
          <ac:spMkLst>
            <pc:docMk/>
            <pc:sldMk cId="2775711133" sldId="424"/>
            <ac:spMk id="2" creationId="{909DC09D-B9A6-4493-9A72-1CA7ECB1F5CA}"/>
          </ac:spMkLst>
        </pc:spChg>
      </pc:sldChg>
      <pc:sldChg chg="modSp add mod">
        <pc:chgData name="Thomas Stensitzki" userId="75cafe6b-2f2a-469b-85c4-eec3b9c972ba" providerId="ADAL" clId="{9F9E9FDF-7C61-4792-941E-3BBD6C5DB2FE}" dt="2021-02-02T13:19:41.191" v="1848" actId="14100"/>
        <pc:sldMkLst>
          <pc:docMk/>
          <pc:sldMk cId="1206553185" sldId="425"/>
        </pc:sldMkLst>
        <pc:spChg chg="mod">
          <ac:chgData name="Thomas Stensitzki" userId="75cafe6b-2f2a-469b-85c4-eec3b9c972ba" providerId="ADAL" clId="{9F9E9FDF-7C61-4792-941E-3BBD6C5DB2FE}" dt="2021-02-02T13:19:41.191" v="1848" actId="14100"/>
          <ac:spMkLst>
            <pc:docMk/>
            <pc:sldMk cId="1206553185" sldId="425"/>
            <ac:spMk id="2" creationId="{909DC09D-B9A6-4493-9A72-1CA7ECB1F5CA}"/>
          </ac:spMkLst>
        </pc:spChg>
      </pc:sldChg>
      <pc:sldMasterChg chg="modSp mod modSldLayout">
        <pc:chgData name="Thomas Stensitzki" userId="75cafe6b-2f2a-469b-85c4-eec3b9c972ba" providerId="ADAL" clId="{9F9E9FDF-7C61-4792-941E-3BBD6C5DB2FE}" dt="2021-02-01T13:29:14.397" v="45" actId="20577"/>
        <pc:sldMasterMkLst>
          <pc:docMk/>
          <pc:sldMasterMk cId="277911257" sldId="2147483648"/>
        </pc:sldMasterMkLst>
        <pc:spChg chg="mod">
          <ac:chgData name="Thomas Stensitzki" userId="75cafe6b-2f2a-469b-85c4-eec3b9c972ba" providerId="ADAL" clId="{9F9E9FDF-7C61-4792-941E-3BBD6C5DB2FE}" dt="2021-02-01T13:29:09.034" v="39" actId="20577"/>
          <ac:spMkLst>
            <pc:docMk/>
            <pc:sldMasterMk cId="277911257" sldId="2147483648"/>
            <ac:spMk id="9" creationId="{2406A12C-E783-4BE5-BEFC-AA493EA54917}"/>
          </ac:spMkLst>
        </pc:spChg>
        <pc:sldLayoutChg chg="modSp mod">
          <pc:chgData name="Thomas Stensitzki" userId="75cafe6b-2f2a-469b-85c4-eec3b9c972ba" providerId="ADAL" clId="{9F9E9FDF-7C61-4792-941E-3BBD6C5DB2FE}" dt="2021-02-01T13:29:14.397" v="45" actId="20577"/>
          <pc:sldLayoutMkLst>
            <pc:docMk/>
            <pc:sldMasterMk cId="277911257" sldId="2147483648"/>
            <pc:sldLayoutMk cId="3364905932" sldId="2147483649"/>
          </pc:sldLayoutMkLst>
          <pc:spChg chg="mod">
            <ac:chgData name="Thomas Stensitzki" userId="75cafe6b-2f2a-469b-85c4-eec3b9c972ba" providerId="ADAL" clId="{9F9E9FDF-7C61-4792-941E-3BBD6C5DB2FE}" dt="2021-02-01T13:29:14.397" v="45" actId="20577"/>
            <ac:spMkLst>
              <pc:docMk/>
              <pc:sldMasterMk cId="277911257" sldId="2147483648"/>
              <pc:sldLayoutMk cId="3364905932" sldId="2147483649"/>
              <ac:spMk id="4" creationId="{DC492C04-9595-4D88-A6FA-ABEAC2147667}"/>
            </ac:spMkLst>
          </pc:spChg>
        </pc:sldLayoutChg>
      </pc:sldMasterChg>
    </pc:docChg>
  </pc:docChgLst>
  <pc:docChgLst>
    <pc:chgData name="Thomas Stensitzki" userId="S::thomas.stensitzki@granikos.eu::75cafe6b-2f2a-469b-85c4-eec3b9c972ba" providerId="AD" clId="Web-{4149DE1F-7438-D6D1-324A-7810524F4E46}"/>
    <pc:docChg chg="addSld modSld modSection">
      <pc:chgData name="Thomas Stensitzki" userId="S::thomas.stensitzki@granikos.eu::75cafe6b-2f2a-469b-85c4-eec3b9c972ba" providerId="AD" clId="Web-{4149DE1F-7438-D6D1-324A-7810524F4E46}" dt="2023-05-23T09:13:18.776" v="15"/>
      <pc:docMkLst>
        <pc:docMk/>
      </pc:docMkLst>
      <pc:sldChg chg="addSp delSp modSp modNotes">
        <pc:chgData name="Thomas Stensitzki" userId="S::thomas.stensitzki@granikos.eu::75cafe6b-2f2a-469b-85c4-eec3b9c972ba" providerId="AD" clId="Web-{4149DE1F-7438-D6D1-324A-7810524F4E46}" dt="2023-05-23T09:13:18.776" v="15"/>
        <pc:sldMkLst>
          <pc:docMk/>
          <pc:sldMk cId="2929133666" sldId="666"/>
        </pc:sldMkLst>
        <pc:spChg chg="add del mod">
          <ac:chgData name="Thomas Stensitzki" userId="S::thomas.stensitzki@granikos.eu::75cafe6b-2f2a-469b-85c4-eec3b9c972ba" providerId="AD" clId="Web-{4149DE1F-7438-D6D1-324A-7810524F4E46}" dt="2023-05-23T09:12:45.056" v="14"/>
          <ac:spMkLst>
            <pc:docMk/>
            <pc:sldMk cId="2929133666" sldId="666"/>
            <ac:spMk id="3" creationId="{2A6ECF10-85D0-50A9-A3B7-6198E269E315}"/>
          </ac:spMkLst>
        </pc:spChg>
        <pc:spChg chg="mod">
          <ac:chgData name="Thomas Stensitzki" userId="S::thomas.stensitzki@granikos.eu::75cafe6b-2f2a-469b-85c4-eec3b9c972ba" providerId="AD" clId="Web-{4149DE1F-7438-D6D1-324A-7810524F4E46}" dt="2023-05-23T09:12:37.728" v="10" actId="20577"/>
          <ac:spMkLst>
            <pc:docMk/>
            <pc:sldMk cId="2929133666" sldId="666"/>
            <ac:spMk id="4" creationId="{9D4128E2-FBA7-900F-7B66-CEEBB9C7063C}"/>
          </ac:spMkLst>
        </pc:spChg>
        <pc:spChg chg="del mod">
          <ac:chgData name="Thomas Stensitzki" userId="S::thomas.stensitzki@granikos.eu::75cafe6b-2f2a-469b-85c4-eec3b9c972ba" providerId="AD" clId="Web-{4149DE1F-7438-D6D1-324A-7810524F4E46}" dt="2023-05-23T09:12:43.541" v="13"/>
          <ac:spMkLst>
            <pc:docMk/>
            <pc:sldMk cId="2929133666" sldId="666"/>
            <ac:spMk id="5" creationId="{0C5A623D-94AE-2D59-FFE6-1DB4A44070C0}"/>
          </ac:spMkLst>
        </pc:spChg>
        <pc:picChg chg="add mod ord">
          <ac:chgData name="Thomas Stensitzki" userId="S::thomas.stensitzki@granikos.eu::75cafe6b-2f2a-469b-85c4-eec3b9c972ba" providerId="AD" clId="Web-{4149DE1F-7438-D6D1-324A-7810524F4E46}" dt="2023-05-23T09:12:45.056" v="14"/>
          <ac:picMkLst>
            <pc:docMk/>
            <pc:sldMk cId="2929133666" sldId="666"/>
            <ac:picMk id="6" creationId="{C8D4B2FE-EDD8-50E5-8B16-7E008C16F86F}"/>
          </ac:picMkLst>
        </pc:picChg>
      </pc:sldChg>
      <pc:sldChg chg="add replId">
        <pc:chgData name="Thomas Stensitzki" userId="S::thomas.stensitzki@granikos.eu::75cafe6b-2f2a-469b-85c4-eec3b9c972ba" providerId="AD" clId="Web-{4149DE1F-7438-D6D1-324A-7810524F4E46}" dt="2023-05-23T09:12:31.400" v="0"/>
        <pc:sldMkLst>
          <pc:docMk/>
          <pc:sldMk cId="1727373922" sldId="727"/>
        </pc:sldMkLst>
      </pc:sldChg>
    </pc:docChg>
  </pc:docChgLst>
  <pc:docChgLst>
    <pc:chgData name="Thomas Stensitzki" userId="75cafe6b-2f2a-469b-85c4-eec3b9c972ba" providerId="ADAL" clId="{732483C3-CB0C-4598-9DB1-778FE3877DE7}"/>
    <pc:docChg chg="undo custSel addSld delSld modSld sldOrd addSection modSection">
      <pc:chgData name="Thomas Stensitzki" userId="75cafe6b-2f2a-469b-85c4-eec3b9c972ba" providerId="ADAL" clId="{732483C3-CB0C-4598-9DB1-778FE3877DE7}" dt="2022-02-17T15:59:12.602" v="1969" actId="1076"/>
      <pc:docMkLst>
        <pc:docMk/>
      </pc:docMkLst>
      <pc:sldChg chg="modSp mod modTransition">
        <pc:chgData name="Thomas Stensitzki" userId="75cafe6b-2f2a-469b-85c4-eec3b9c972ba" providerId="ADAL" clId="{732483C3-CB0C-4598-9DB1-778FE3877DE7}" dt="2022-02-16T13:35:41.009" v="1677"/>
        <pc:sldMkLst>
          <pc:docMk/>
          <pc:sldMk cId="671489701" sldId="256"/>
        </pc:sldMkLst>
        <pc:spChg chg="mod">
          <ac:chgData name="Thomas Stensitzki" userId="75cafe6b-2f2a-469b-85c4-eec3b9c972ba" providerId="ADAL" clId="{732483C3-CB0C-4598-9DB1-778FE3877DE7}" dt="2022-02-13T12:22:51.290" v="50" actId="113"/>
          <ac:spMkLst>
            <pc:docMk/>
            <pc:sldMk cId="671489701" sldId="256"/>
            <ac:spMk id="2" creationId="{86A4A9C3-88F1-47B1-832C-DF14CF7A00CF}"/>
          </ac:spMkLst>
        </pc:spChg>
        <pc:spChg chg="mod">
          <ac:chgData name="Thomas Stensitzki" userId="75cafe6b-2f2a-469b-85c4-eec3b9c972ba" providerId="ADAL" clId="{732483C3-CB0C-4598-9DB1-778FE3877DE7}" dt="2022-02-13T12:23:22.759" v="51" actId="113"/>
          <ac:spMkLst>
            <pc:docMk/>
            <pc:sldMk cId="671489701" sldId="256"/>
            <ac:spMk id="3" creationId="{CBA95633-B02D-4A15-A8B1-A38E0A70FD27}"/>
          </ac:spMkLst>
        </pc:spChg>
      </pc:sldChg>
      <pc:sldChg chg="addSp delSp modSp mod modTransition">
        <pc:chgData name="Thomas Stensitzki" userId="75cafe6b-2f2a-469b-85c4-eec3b9c972ba" providerId="ADAL" clId="{732483C3-CB0C-4598-9DB1-778FE3877DE7}" dt="2022-02-17T15:59:12.602" v="1969" actId="1076"/>
        <pc:sldMkLst>
          <pc:docMk/>
          <pc:sldMk cId="2855324227" sldId="257"/>
        </pc:sldMkLst>
        <pc:spChg chg="mod">
          <ac:chgData name="Thomas Stensitzki" userId="75cafe6b-2f2a-469b-85c4-eec3b9c972ba" providerId="ADAL" clId="{732483C3-CB0C-4598-9DB1-778FE3877DE7}" dt="2022-02-16T13:31:32.696" v="1597"/>
          <ac:spMkLst>
            <pc:docMk/>
            <pc:sldMk cId="2855324227" sldId="257"/>
            <ac:spMk id="11" creationId="{5F7E2A8E-3488-43CE-AFB7-0DE0FE9942EC}"/>
          </ac:spMkLst>
        </pc:spChg>
        <pc:spChg chg="mod">
          <ac:chgData name="Thomas Stensitzki" userId="75cafe6b-2f2a-469b-85c4-eec3b9c972ba" providerId="ADAL" clId="{732483C3-CB0C-4598-9DB1-778FE3877DE7}" dt="2022-02-17T15:59:01.053" v="1967"/>
          <ac:spMkLst>
            <pc:docMk/>
            <pc:sldMk cId="2855324227" sldId="257"/>
            <ac:spMk id="11" creationId="{E79462DF-B80C-4577-A7E2-5A5070DE1A39}"/>
          </ac:spMkLst>
        </pc:spChg>
        <pc:spChg chg="mod">
          <ac:chgData name="Thomas Stensitzki" userId="75cafe6b-2f2a-469b-85c4-eec3b9c972ba" providerId="ADAL" clId="{732483C3-CB0C-4598-9DB1-778FE3877DE7}" dt="2022-02-17T15:59:01.053" v="1967"/>
          <ac:spMkLst>
            <pc:docMk/>
            <pc:sldMk cId="2855324227" sldId="257"/>
            <ac:spMk id="12" creationId="{2CBD1460-E995-4D48-A0A3-9B7E8FFC6E73}"/>
          </ac:spMkLst>
        </pc:spChg>
        <pc:spChg chg="mod">
          <ac:chgData name="Thomas Stensitzki" userId="75cafe6b-2f2a-469b-85c4-eec3b9c972ba" providerId="ADAL" clId="{732483C3-CB0C-4598-9DB1-778FE3877DE7}" dt="2022-02-16T13:31:32.696" v="1597"/>
          <ac:spMkLst>
            <pc:docMk/>
            <pc:sldMk cId="2855324227" sldId="257"/>
            <ac:spMk id="12" creationId="{B66D9E92-293C-402F-A9E1-9822A1F2DDE3}"/>
          </ac:spMkLst>
        </pc:spChg>
        <pc:grpChg chg="add del mod">
          <ac:chgData name="Thomas Stensitzki" userId="75cafe6b-2f2a-469b-85c4-eec3b9c972ba" providerId="ADAL" clId="{732483C3-CB0C-4598-9DB1-778FE3877DE7}" dt="2022-02-16T13:32:31.835" v="1606" actId="478"/>
          <ac:grpSpMkLst>
            <pc:docMk/>
            <pc:sldMk cId="2855324227" sldId="257"/>
            <ac:grpSpMk id="10" creationId="{16102D12-CA97-459F-9875-C86808FBFBEB}"/>
          </ac:grpSpMkLst>
        </pc:grpChg>
        <pc:grpChg chg="add mod">
          <ac:chgData name="Thomas Stensitzki" userId="75cafe6b-2f2a-469b-85c4-eec3b9c972ba" providerId="ADAL" clId="{732483C3-CB0C-4598-9DB1-778FE3877DE7}" dt="2022-02-17T15:59:12.602" v="1969" actId="1076"/>
          <ac:grpSpMkLst>
            <pc:docMk/>
            <pc:sldMk cId="2855324227" sldId="257"/>
            <ac:grpSpMk id="10" creationId="{D2AA4FDE-6B43-48F3-A5F5-5B79619A7E68}"/>
          </ac:grpSpMkLst>
        </pc:grpChg>
        <pc:graphicFrameChg chg="mod modGraphic">
          <ac:chgData name="Thomas Stensitzki" userId="75cafe6b-2f2a-469b-85c4-eec3b9c972ba" providerId="ADAL" clId="{732483C3-CB0C-4598-9DB1-778FE3877DE7}" dt="2022-02-13T12:25:25.350" v="63"/>
          <ac:graphicFrameMkLst>
            <pc:docMk/>
            <pc:sldMk cId="2855324227" sldId="257"/>
            <ac:graphicFrameMk id="6" creationId="{0F955DCC-462D-431D-BBDE-26F10687D590}"/>
          </ac:graphicFrameMkLst>
        </pc:graphicFrameChg>
        <pc:picChg chg="add del mod">
          <ac:chgData name="Thomas Stensitzki" userId="75cafe6b-2f2a-469b-85c4-eec3b9c972ba" providerId="ADAL" clId="{732483C3-CB0C-4598-9DB1-778FE3877DE7}" dt="2022-02-16T13:32:33.009" v="1607" actId="478"/>
          <ac:picMkLst>
            <pc:docMk/>
            <pc:sldMk cId="2855324227" sldId="257"/>
            <ac:picMk id="4" creationId="{69EB1147-1A9E-4968-9B6D-4419C751595B}"/>
          </ac:picMkLst>
        </pc:picChg>
        <pc:picChg chg="add del mod">
          <ac:chgData name="Thomas Stensitzki" userId="75cafe6b-2f2a-469b-85c4-eec3b9c972ba" providerId="ADAL" clId="{732483C3-CB0C-4598-9DB1-778FE3877DE7}" dt="2022-02-16T13:32:01.981" v="1601" actId="478"/>
          <ac:picMkLst>
            <pc:docMk/>
            <pc:sldMk cId="2855324227" sldId="257"/>
            <ac:picMk id="14" creationId="{6E278E7A-A6E6-47E7-9D1F-FF803ED76CF6}"/>
          </ac:picMkLst>
        </pc:picChg>
      </pc:sldChg>
      <pc:sldChg chg="modSp mod modTransition">
        <pc:chgData name="Thomas Stensitzki" userId="75cafe6b-2f2a-469b-85c4-eec3b9c972ba" providerId="ADAL" clId="{732483C3-CB0C-4598-9DB1-778FE3877DE7}" dt="2022-02-16T13:35:41.009" v="1677"/>
        <pc:sldMkLst>
          <pc:docMk/>
          <pc:sldMk cId="3332792154" sldId="258"/>
        </pc:sldMkLst>
        <pc:spChg chg="mod">
          <ac:chgData name="Thomas Stensitzki" userId="75cafe6b-2f2a-469b-85c4-eec3b9c972ba" providerId="ADAL" clId="{732483C3-CB0C-4598-9DB1-778FE3877DE7}" dt="2022-02-13T12:41:53.547" v="314" actId="6549"/>
          <ac:spMkLst>
            <pc:docMk/>
            <pc:sldMk cId="3332792154" sldId="258"/>
            <ac:spMk id="3" creationId="{3A5A44EB-7FB9-473A-8ED3-C49DDD2E65AB}"/>
          </ac:spMkLst>
        </pc:spChg>
      </pc:sldChg>
      <pc:sldChg chg="modTransition">
        <pc:chgData name="Thomas Stensitzki" userId="75cafe6b-2f2a-469b-85c4-eec3b9c972ba" providerId="ADAL" clId="{732483C3-CB0C-4598-9DB1-778FE3877DE7}" dt="2022-02-16T13:35:41.009" v="1677"/>
        <pc:sldMkLst>
          <pc:docMk/>
          <pc:sldMk cId="1545829058" sldId="259"/>
        </pc:sldMkLst>
      </pc:sldChg>
      <pc:sldChg chg="modSp mod modTransition">
        <pc:chgData name="Thomas Stensitzki" userId="75cafe6b-2f2a-469b-85c4-eec3b9c972ba" providerId="ADAL" clId="{732483C3-CB0C-4598-9DB1-778FE3877DE7}" dt="2022-02-16T13:35:41.009" v="1677"/>
        <pc:sldMkLst>
          <pc:docMk/>
          <pc:sldMk cId="2698998357" sldId="260"/>
        </pc:sldMkLst>
        <pc:spChg chg="mod">
          <ac:chgData name="Thomas Stensitzki" userId="75cafe6b-2f2a-469b-85c4-eec3b9c972ba" providerId="ADAL" clId="{732483C3-CB0C-4598-9DB1-778FE3877DE7}" dt="2022-02-13T12:27:18.416" v="64"/>
          <ac:spMkLst>
            <pc:docMk/>
            <pc:sldMk cId="2698998357" sldId="260"/>
            <ac:spMk id="4" creationId="{F3A15CBD-C746-44A3-A4F0-4898CE2F02E6}"/>
          </ac:spMkLst>
        </pc:spChg>
        <pc:spChg chg="mod">
          <ac:chgData name="Thomas Stensitzki" userId="75cafe6b-2f2a-469b-85c4-eec3b9c972ba" providerId="ADAL" clId="{732483C3-CB0C-4598-9DB1-778FE3877DE7}" dt="2022-02-13T12:28:37.463" v="70" actId="114"/>
          <ac:spMkLst>
            <pc:docMk/>
            <pc:sldMk cId="2698998357" sldId="260"/>
            <ac:spMk id="5" creationId="{F3459BE7-1731-4733-A912-12977C68CFD6}"/>
          </ac:spMkLst>
        </pc:spChg>
      </pc:sldChg>
      <pc:sldChg chg="modSp mod modTransition">
        <pc:chgData name="Thomas Stensitzki" userId="75cafe6b-2f2a-469b-85c4-eec3b9c972ba" providerId="ADAL" clId="{732483C3-CB0C-4598-9DB1-778FE3877DE7}" dt="2022-02-16T13:35:41.009" v="1677"/>
        <pc:sldMkLst>
          <pc:docMk/>
          <pc:sldMk cId="4007670073" sldId="268"/>
        </pc:sldMkLst>
        <pc:spChg chg="mod">
          <ac:chgData name="Thomas Stensitzki" userId="75cafe6b-2f2a-469b-85c4-eec3b9c972ba" providerId="ADAL" clId="{732483C3-CB0C-4598-9DB1-778FE3877DE7}" dt="2022-02-13T12:28:46.343" v="72" actId="20577"/>
          <ac:spMkLst>
            <pc:docMk/>
            <pc:sldMk cId="4007670073" sldId="268"/>
            <ac:spMk id="5" creationId="{F3459BE7-1731-4733-A912-12977C68CFD6}"/>
          </ac:spMkLst>
        </pc:spChg>
      </pc:sldChg>
      <pc:sldChg chg="modSp add del mod modTransition">
        <pc:chgData name="Thomas Stensitzki" userId="75cafe6b-2f2a-469b-85c4-eec3b9c972ba" providerId="ADAL" clId="{732483C3-CB0C-4598-9DB1-778FE3877DE7}" dt="2022-02-16T13:35:41.009" v="1677"/>
        <pc:sldMkLst>
          <pc:docMk/>
          <pc:sldMk cId="2721051844" sldId="269"/>
        </pc:sldMkLst>
        <pc:spChg chg="mod">
          <ac:chgData name="Thomas Stensitzki" userId="75cafe6b-2f2a-469b-85c4-eec3b9c972ba" providerId="ADAL" clId="{732483C3-CB0C-4598-9DB1-778FE3877DE7}" dt="2022-02-13T12:36:47.285" v="163" actId="20577"/>
          <ac:spMkLst>
            <pc:docMk/>
            <pc:sldMk cId="2721051844" sldId="269"/>
            <ac:spMk id="5" creationId="{C24DACB5-1BEC-4C86-9652-BAFD8DE56FEF}"/>
          </ac:spMkLst>
        </pc:spChg>
      </pc:sldChg>
      <pc:sldChg chg="modTransition">
        <pc:chgData name="Thomas Stensitzki" userId="75cafe6b-2f2a-469b-85c4-eec3b9c972ba" providerId="ADAL" clId="{732483C3-CB0C-4598-9DB1-778FE3877DE7}" dt="2022-02-16T13:35:41.009" v="1677"/>
        <pc:sldMkLst>
          <pc:docMk/>
          <pc:sldMk cId="1928334901" sldId="295"/>
        </pc:sldMkLst>
      </pc:sldChg>
      <pc:sldChg chg="modTransition">
        <pc:chgData name="Thomas Stensitzki" userId="75cafe6b-2f2a-469b-85c4-eec3b9c972ba" providerId="ADAL" clId="{732483C3-CB0C-4598-9DB1-778FE3877DE7}" dt="2022-02-16T13:35:41.009" v="1677"/>
        <pc:sldMkLst>
          <pc:docMk/>
          <pc:sldMk cId="466045460" sldId="296"/>
        </pc:sldMkLst>
      </pc:sldChg>
      <pc:sldChg chg="modSp mod modTransition modShow">
        <pc:chgData name="Thomas Stensitzki" userId="75cafe6b-2f2a-469b-85c4-eec3b9c972ba" providerId="ADAL" clId="{732483C3-CB0C-4598-9DB1-778FE3877DE7}" dt="2022-02-16T13:54:43.015" v="1912" actId="729"/>
        <pc:sldMkLst>
          <pc:docMk/>
          <pc:sldMk cId="53967156" sldId="297"/>
        </pc:sldMkLst>
        <pc:spChg chg="mod">
          <ac:chgData name="Thomas Stensitzki" userId="75cafe6b-2f2a-469b-85c4-eec3b9c972ba" providerId="ADAL" clId="{732483C3-CB0C-4598-9DB1-778FE3877DE7}" dt="2022-02-13T12:38:16.414" v="168" actId="20577"/>
          <ac:spMkLst>
            <pc:docMk/>
            <pc:sldMk cId="53967156" sldId="297"/>
            <ac:spMk id="4" creationId="{F3A15CBD-C746-44A3-A4F0-4898CE2F02E6}"/>
          </ac:spMkLst>
        </pc:spChg>
        <pc:spChg chg="mod">
          <ac:chgData name="Thomas Stensitzki" userId="75cafe6b-2f2a-469b-85c4-eec3b9c972ba" providerId="ADAL" clId="{732483C3-CB0C-4598-9DB1-778FE3877DE7}" dt="2022-02-13T12:38:33.111" v="198" actId="20577"/>
          <ac:spMkLst>
            <pc:docMk/>
            <pc:sldMk cId="53967156" sldId="297"/>
            <ac:spMk id="5" creationId="{F3459BE7-1731-4733-A912-12977C68CFD6}"/>
          </ac:spMkLst>
        </pc:spChg>
      </pc:sldChg>
      <pc:sldChg chg="modTransition">
        <pc:chgData name="Thomas Stensitzki" userId="75cafe6b-2f2a-469b-85c4-eec3b9c972ba" providerId="ADAL" clId="{732483C3-CB0C-4598-9DB1-778FE3877DE7}" dt="2022-02-16T13:35:41.009" v="1677"/>
        <pc:sldMkLst>
          <pc:docMk/>
          <pc:sldMk cId="2814967912" sldId="311"/>
        </pc:sldMkLst>
      </pc:sldChg>
      <pc:sldChg chg="modTransition">
        <pc:chgData name="Thomas Stensitzki" userId="75cafe6b-2f2a-469b-85c4-eec3b9c972ba" providerId="ADAL" clId="{732483C3-CB0C-4598-9DB1-778FE3877DE7}" dt="2022-02-16T13:35:41.009" v="1677"/>
        <pc:sldMkLst>
          <pc:docMk/>
          <pc:sldMk cId="726195275" sldId="313"/>
        </pc:sldMkLst>
      </pc:sldChg>
      <pc:sldChg chg="modSp mod modTransition">
        <pc:chgData name="Thomas Stensitzki" userId="75cafe6b-2f2a-469b-85c4-eec3b9c972ba" providerId="ADAL" clId="{732483C3-CB0C-4598-9DB1-778FE3877DE7}" dt="2022-02-16T13:35:41.009" v="1677"/>
        <pc:sldMkLst>
          <pc:docMk/>
          <pc:sldMk cId="2227487991" sldId="378"/>
        </pc:sldMkLst>
        <pc:spChg chg="mod">
          <ac:chgData name="Thomas Stensitzki" userId="75cafe6b-2f2a-469b-85c4-eec3b9c972ba" providerId="ADAL" clId="{732483C3-CB0C-4598-9DB1-778FE3877DE7}" dt="2022-02-14T11:33:44.170" v="1247" actId="1076"/>
          <ac:spMkLst>
            <pc:docMk/>
            <pc:sldMk cId="2227487991" sldId="378"/>
            <ac:spMk id="2" creationId="{909DC09D-B9A6-4493-9A72-1CA7ECB1F5CA}"/>
          </ac:spMkLst>
        </pc:spChg>
        <pc:spChg chg="mod">
          <ac:chgData name="Thomas Stensitzki" userId="75cafe6b-2f2a-469b-85c4-eec3b9c972ba" providerId="ADAL" clId="{732483C3-CB0C-4598-9DB1-778FE3877DE7}" dt="2022-02-14T11:32:58.007" v="1240" actId="255"/>
          <ac:spMkLst>
            <pc:docMk/>
            <pc:sldMk cId="2227487991" sldId="378"/>
            <ac:spMk id="5" creationId="{C24DACB5-1BEC-4C86-9652-BAFD8DE56FEF}"/>
          </ac:spMkLst>
        </pc:spChg>
      </pc:sldChg>
      <pc:sldChg chg="modTransition">
        <pc:chgData name="Thomas Stensitzki" userId="75cafe6b-2f2a-469b-85c4-eec3b9c972ba" providerId="ADAL" clId="{732483C3-CB0C-4598-9DB1-778FE3877DE7}" dt="2022-02-16T13:35:41.009" v="1677"/>
        <pc:sldMkLst>
          <pc:docMk/>
          <pc:sldMk cId="2923837414" sldId="513"/>
        </pc:sldMkLst>
      </pc:sldChg>
      <pc:sldChg chg="modTransition">
        <pc:chgData name="Thomas Stensitzki" userId="75cafe6b-2f2a-469b-85c4-eec3b9c972ba" providerId="ADAL" clId="{732483C3-CB0C-4598-9DB1-778FE3877DE7}" dt="2022-02-16T13:35:41.009" v="1677"/>
        <pc:sldMkLst>
          <pc:docMk/>
          <pc:sldMk cId="2395924320" sldId="514"/>
        </pc:sldMkLst>
      </pc:sldChg>
      <pc:sldChg chg="modSp mod modTransition modNotesTx">
        <pc:chgData name="Thomas Stensitzki" userId="75cafe6b-2f2a-469b-85c4-eec3b9c972ba" providerId="ADAL" clId="{732483C3-CB0C-4598-9DB1-778FE3877DE7}" dt="2022-02-16T13:52:51.083" v="1895" actId="6549"/>
        <pc:sldMkLst>
          <pc:docMk/>
          <pc:sldMk cId="3797754622" sldId="515"/>
        </pc:sldMkLst>
        <pc:spChg chg="mod">
          <ac:chgData name="Thomas Stensitzki" userId="75cafe6b-2f2a-469b-85c4-eec3b9c972ba" providerId="ADAL" clId="{732483C3-CB0C-4598-9DB1-778FE3877DE7}" dt="2022-02-16T13:47:59.697" v="1848" actId="1076"/>
          <ac:spMkLst>
            <pc:docMk/>
            <pc:sldMk cId="3797754622" sldId="515"/>
            <ac:spMk id="2" creationId="{909DC09D-B9A6-4493-9A72-1CA7ECB1F5CA}"/>
          </ac:spMkLst>
        </pc:spChg>
        <pc:spChg chg="mod">
          <ac:chgData name="Thomas Stensitzki" userId="75cafe6b-2f2a-469b-85c4-eec3b9c972ba" providerId="ADAL" clId="{732483C3-CB0C-4598-9DB1-778FE3877DE7}" dt="2022-02-14T11:33:21.124" v="1244" actId="255"/>
          <ac:spMkLst>
            <pc:docMk/>
            <pc:sldMk cId="3797754622" sldId="515"/>
            <ac:spMk id="5" creationId="{C24DACB5-1BEC-4C86-9652-BAFD8DE56FEF}"/>
          </ac:spMkLst>
        </pc:spChg>
      </pc:sldChg>
      <pc:sldChg chg="modTransition">
        <pc:chgData name="Thomas Stensitzki" userId="75cafe6b-2f2a-469b-85c4-eec3b9c972ba" providerId="ADAL" clId="{732483C3-CB0C-4598-9DB1-778FE3877DE7}" dt="2022-02-16T13:35:41.009" v="1677"/>
        <pc:sldMkLst>
          <pc:docMk/>
          <pc:sldMk cId="2791634409" sldId="560"/>
        </pc:sldMkLst>
      </pc:sldChg>
      <pc:sldChg chg="modSp mod modTransition">
        <pc:chgData name="Thomas Stensitzki" userId="75cafe6b-2f2a-469b-85c4-eec3b9c972ba" providerId="ADAL" clId="{732483C3-CB0C-4598-9DB1-778FE3877DE7}" dt="2022-02-16T13:58:52.710" v="1966" actId="20577"/>
        <pc:sldMkLst>
          <pc:docMk/>
          <pc:sldMk cId="1728515471" sldId="561"/>
        </pc:sldMkLst>
        <pc:graphicFrameChg chg="mod modGraphic">
          <ac:chgData name="Thomas Stensitzki" userId="75cafe6b-2f2a-469b-85c4-eec3b9c972ba" providerId="ADAL" clId="{732483C3-CB0C-4598-9DB1-778FE3877DE7}" dt="2022-02-16T13:58:52.710" v="1966" actId="20577"/>
          <ac:graphicFrameMkLst>
            <pc:docMk/>
            <pc:sldMk cId="1728515471" sldId="561"/>
            <ac:graphicFrameMk id="4" creationId="{55EDB790-67BC-42E5-B64A-5647620B8383}"/>
          </ac:graphicFrameMkLst>
        </pc:graphicFrameChg>
      </pc:sldChg>
      <pc:sldChg chg="del">
        <pc:chgData name="Thomas Stensitzki" userId="75cafe6b-2f2a-469b-85c4-eec3b9c972ba" providerId="ADAL" clId="{732483C3-CB0C-4598-9DB1-778FE3877DE7}" dt="2022-02-13T12:29:09.990" v="73" actId="47"/>
        <pc:sldMkLst>
          <pc:docMk/>
          <pc:sldMk cId="897532384" sldId="562"/>
        </pc:sldMkLst>
      </pc:sldChg>
      <pc:sldChg chg="del">
        <pc:chgData name="Thomas Stensitzki" userId="75cafe6b-2f2a-469b-85c4-eec3b9c972ba" providerId="ADAL" clId="{732483C3-CB0C-4598-9DB1-778FE3877DE7}" dt="2022-02-13T12:29:09.990" v="73" actId="47"/>
        <pc:sldMkLst>
          <pc:docMk/>
          <pc:sldMk cId="2102933315" sldId="563"/>
        </pc:sldMkLst>
      </pc:sldChg>
      <pc:sldChg chg="del">
        <pc:chgData name="Thomas Stensitzki" userId="75cafe6b-2f2a-469b-85c4-eec3b9c972ba" providerId="ADAL" clId="{732483C3-CB0C-4598-9DB1-778FE3877DE7}" dt="2022-02-13T12:29:09.990" v="73" actId="47"/>
        <pc:sldMkLst>
          <pc:docMk/>
          <pc:sldMk cId="2675026296" sldId="564"/>
        </pc:sldMkLst>
      </pc:sldChg>
      <pc:sldChg chg="del">
        <pc:chgData name="Thomas Stensitzki" userId="75cafe6b-2f2a-469b-85c4-eec3b9c972ba" providerId="ADAL" clId="{732483C3-CB0C-4598-9DB1-778FE3877DE7}" dt="2022-02-13T12:29:09.990" v="73" actId="47"/>
        <pc:sldMkLst>
          <pc:docMk/>
          <pc:sldMk cId="3751554083" sldId="565"/>
        </pc:sldMkLst>
      </pc:sldChg>
      <pc:sldChg chg="del">
        <pc:chgData name="Thomas Stensitzki" userId="75cafe6b-2f2a-469b-85c4-eec3b9c972ba" providerId="ADAL" clId="{732483C3-CB0C-4598-9DB1-778FE3877DE7}" dt="2022-02-13T12:29:09.990" v="73" actId="47"/>
        <pc:sldMkLst>
          <pc:docMk/>
          <pc:sldMk cId="3413303963" sldId="566"/>
        </pc:sldMkLst>
      </pc:sldChg>
      <pc:sldChg chg="modSp mod ord modTransition modNotesTx">
        <pc:chgData name="Thomas Stensitzki" userId="75cafe6b-2f2a-469b-85c4-eec3b9c972ba" providerId="ADAL" clId="{732483C3-CB0C-4598-9DB1-778FE3877DE7}" dt="2022-02-16T13:48:53.982" v="1853"/>
        <pc:sldMkLst>
          <pc:docMk/>
          <pc:sldMk cId="4104137776" sldId="567"/>
        </pc:sldMkLst>
        <pc:spChg chg="mod">
          <ac:chgData name="Thomas Stensitzki" userId="75cafe6b-2f2a-469b-85c4-eec3b9c972ba" providerId="ADAL" clId="{732483C3-CB0C-4598-9DB1-778FE3877DE7}" dt="2022-02-13T12:50:50.841" v="328" actId="20577"/>
          <ac:spMkLst>
            <pc:docMk/>
            <pc:sldMk cId="4104137776" sldId="567"/>
            <ac:spMk id="2" creationId="{EC46AD28-746E-4246-884F-4DAE24C62042}"/>
          </ac:spMkLst>
        </pc:spChg>
        <pc:spChg chg="mod">
          <ac:chgData name="Thomas Stensitzki" userId="75cafe6b-2f2a-469b-85c4-eec3b9c972ba" providerId="ADAL" clId="{732483C3-CB0C-4598-9DB1-778FE3877DE7}" dt="2022-02-13T12:51:14.659" v="333" actId="15"/>
          <ac:spMkLst>
            <pc:docMk/>
            <pc:sldMk cId="4104137776" sldId="567"/>
            <ac:spMk id="3" creationId="{4B4B1B02-433C-4551-A25C-9193BE90D3D9}"/>
          </ac:spMkLst>
        </pc:spChg>
      </pc:sldChg>
      <pc:sldChg chg="modSp new mod modTransition">
        <pc:chgData name="Thomas Stensitzki" userId="75cafe6b-2f2a-469b-85c4-eec3b9c972ba" providerId="ADAL" clId="{732483C3-CB0C-4598-9DB1-778FE3877DE7}" dt="2022-02-16T13:35:41.009" v="1677"/>
        <pc:sldMkLst>
          <pc:docMk/>
          <pc:sldMk cId="2374589673" sldId="568"/>
        </pc:sldMkLst>
        <pc:spChg chg="mod">
          <ac:chgData name="Thomas Stensitzki" userId="75cafe6b-2f2a-469b-85c4-eec3b9c972ba" providerId="ADAL" clId="{732483C3-CB0C-4598-9DB1-778FE3877DE7}" dt="2022-02-13T12:49:26.398" v="319"/>
          <ac:spMkLst>
            <pc:docMk/>
            <pc:sldMk cId="2374589673" sldId="568"/>
            <ac:spMk id="2" creationId="{6A814F1C-A68B-4C48-BFC7-E0C8475DD978}"/>
          </ac:spMkLst>
        </pc:spChg>
        <pc:spChg chg="mod">
          <ac:chgData name="Thomas Stensitzki" userId="75cafe6b-2f2a-469b-85c4-eec3b9c972ba" providerId="ADAL" clId="{732483C3-CB0C-4598-9DB1-778FE3877DE7}" dt="2022-02-16T13:35:25.184" v="1676" actId="20577"/>
          <ac:spMkLst>
            <pc:docMk/>
            <pc:sldMk cId="2374589673" sldId="568"/>
            <ac:spMk id="3" creationId="{4FF3BEF0-B65A-4D8F-9E68-52DE5DDDED8D}"/>
          </ac:spMkLst>
        </pc:spChg>
      </pc:sldChg>
      <pc:sldChg chg="del">
        <pc:chgData name="Thomas Stensitzki" userId="75cafe6b-2f2a-469b-85c4-eec3b9c972ba" providerId="ADAL" clId="{732483C3-CB0C-4598-9DB1-778FE3877DE7}" dt="2022-02-13T12:29:09.990" v="73" actId="47"/>
        <pc:sldMkLst>
          <pc:docMk/>
          <pc:sldMk cId="2906341100" sldId="568"/>
        </pc:sldMkLst>
      </pc:sldChg>
      <pc:sldChg chg="addSp delSp modSp new mod modTransition modNotesTx">
        <pc:chgData name="Thomas Stensitzki" userId="75cafe6b-2f2a-469b-85c4-eec3b9c972ba" providerId="ADAL" clId="{732483C3-CB0C-4598-9DB1-778FE3877DE7}" dt="2022-02-16T13:35:41.009" v="1677"/>
        <pc:sldMkLst>
          <pc:docMk/>
          <pc:sldMk cId="1152622229" sldId="569"/>
        </pc:sldMkLst>
        <pc:spChg chg="mod">
          <ac:chgData name="Thomas Stensitzki" userId="75cafe6b-2f2a-469b-85c4-eec3b9c972ba" providerId="ADAL" clId="{732483C3-CB0C-4598-9DB1-778FE3877DE7}" dt="2022-02-13T12:52:27.868" v="345"/>
          <ac:spMkLst>
            <pc:docMk/>
            <pc:sldMk cId="1152622229" sldId="569"/>
            <ac:spMk id="2" creationId="{D134A1E6-1853-44BA-9137-1BEBEA3C99F0}"/>
          </ac:spMkLst>
        </pc:spChg>
        <pc:spChg chg="del">
          <ac:chgData name="Thomas Stensitzki" userId="75cafe6b-2f2a-469b-85c4-eec3b9c972ba" providerId="ADAL" clId="{732483C3-CB0C-4598-9DB1-778FE3877DE7}" dt="2022-02-13T12:52:55.345" v="346" actId="478"/>
          <ac:spMkLst>
            <pc:docMk/>
            <pc:sldMk cId="1152622229" sldId="569"/>
            <ac:spMk id="3" creationId="{DEDCB31E-113D-46E3-BC44-C4B104FC3C5E}"/>
          </ac:spMkLst>
        </pc:spChg>
        <pc:spChg chg="add del">
          <ac:chgData name="Thomas Stensitzki" userId="75cafe6b-2f2a-469b-85c4-eec3b9c972ba" providerId="ADAL" clId="{732483C3-CB0C-4598-9DB1-778FE3877DE7}" dt="2022-02-13T12:53:00.511" v="348" actId="22"/>
          <ac:spMkLst>
            <pc:docMk/>
            <pc:sldMk cId="1152622229" sldId="569"/>
            <ac:spMk id="5" creationId="{149A395E-84FB-4E0E-A6A6-74CFBAF08561}"/>
          </ac:spMkLst>
        </pc:spChg>
        <pc:spChg chg="add mod">
          <ac:chgData name="Thomas Stensitzki" userId="75cafe6b-2f2a-469b-85c4-eec3b9c972ba" providerId="ADAL" clId="{732483C3-CB0C-4598-9DB1-778FE3877DE7}" dt="2022-02-13T12:54:31.382" v="359" actId="11530"/>
          <ac:spMkLst>
            <pc:docMk/>
            <pc:sldMk cId="1152622229" sldId="569"/>
            <ac:spMk id="7" creationId="{75A56EB6-960B-4016-97A6-CA24652E2B73}"/>
          </ac:spMkLst>
        </pc:spChg>
        <pc:picChg chg="add mod">
          <ac:chgData name="Thomas Stensitzki" userId="75cafe6b-2f2a-469b-85c4-eec3b9c972ba" providerId="ADAL" clId="{732483C3-CB0C-4598-9DB1-778FE3877DE7}" dt="2022-02-13T12:53:37.056" v="352" actId="1440"/>
          <ac:picMkLst>
            <pc:docMk/>
            <pc:sldMk cId="1152622229" sldId="569"/>
            <ac:picMk id="1026" creationId="{17A553F8-26FB-43E5-A033-ACFB8F72AABF}"/>
          </ac:picMkLst>
        </pc:picChg>
      </pc:sldChg>
      <pc:sldChg chg="del">
        <pc:chgData name="Thomas Stensitzki" userId="75cafe6b-2f2a-469b-85c4-eec3b9c972ba" providerId="ADAL" clId="{732483C3-CB0C-4598-9DB1-778FE3877DE7}" dt="2022-02-13T12:29:09.990" v="73" actId="47"/>
        <pc:sldMkLst>
          <pc:docMk/>
          <pc:sldMk cId="3640343721" sldId="569"/>
        </pc:sldMkLst>
      </pc:sldChg>
      <pc:sldChg chg="del">
        <pc:chgData name="Thomas Stensitzki" userId="75cafe6b-2f2a-469b-85c4-eec3b9c972ba" providerId="ADAL" clId="{732483C3-CB0C-4598-9DB1-778FE3877DE7}" dt="2022-02-13T12:29:09.990" v="73" actId="47"/>
        <pc:sldMkLst>
          <pc:docMk/>
          <pc:sldMk cId="1487249929" sldId="570"/>
        </pc:sldMkLst>
      </pc:sldChg>
      <pc:sldChg chg="addSp modSp new mod modTransition modNotesTx">
        <pc:chgData name="Thomas Stensitzki" userId="75cafe6b-2f2a-469b-85c4-eec3b9c972ba" providerId="ADAL" clId="{732483C3-CB0C-4598-9DB1-778FE3877DE7}" dt="2022-02-16T13:35:41.009" v="1677"/>
        <pc:sldMkLst>
          <pc:docMk/>
          <pc:sldMk cId="1687430561" sldId="570"/>
        </pc:sldMkLst>
        <pc:spChg chg="mod">
          <ac:chgData name="Thomas Stensitzki" userId="75cafe6b-2f2a-469b-85c4-eec3b9c972ba" providerId="ADAL" clId="{732483C3-CB0C-4598-9DB1-778FE3877DE7}" dt="2022-02-13T12:59:30.721" v="463" actId="1076"/>
          <ac:spMkLst>
            <pc:docMk/>
            <pc:sldMk cId="1687430561" sldId="570"/>
            <ac:spMk id="2" creationId="{B65A418D-D640-48C7-A300-246643E23BDE}"/>
          </ac:spMkLst>
        </pc:spChg>
        <pc:spChg chg="mod">
          <ac:chgData name="Thomas Stensitzki" userId="75cafe6b-2f2a-469b-85c4-eec3b9c972ba" providerId="ADAL" clId="{732483C3-CB0C-4598-9DB1-778FE3877DE7}" dt="2022-02-13T12:59:15.099" v="460" actId="6549"/>
          <ac:spMkLst>
            <pc:docMk/>
            <pc:sldMk cId="1687430561" sldId="570"/>
            <ac:spMk id="3" creationId="{700F3494-0841-4002-904A-7AC9949D6AF0}"/>
          </ac:spMkLst>
        </pc:spChg>
        <pc:picChg chg="add mod">
          <ac:chgData name="Thomas Stensitzki" userId="75cafe6b-2f2a-469b-85c4-eec3b9c972ba" providerId="ADAL" clId="{732483C3-CB0C-4598-9DB1-778FE3877DE7}" dt="2022-02-13T12:59:44.152" v="465" actId="1440"/>
          <ac:picMkLst>
            <pc:docMk/>
            <pc:sldMk cId="1687430561" sldId="570"/>
            <ac:picMk id="2050" creationId="{0C202E6E-91EF-4C4D-9DF6-2046E7E2816F}"/>
          </ac:picMkLst>
        </pc:picChg>
      </pc:sldChg>
      <pc:sldChg chg="del">
        <pc:chgData name="Thomas Stensitzki" userId="75cafe6b-2f2a-469b-85c4-eec3b9c972ba" providerId="ADAL" clId="{732483C3-CB0C-4598-9DB1-778FE3877DE7}" dt="2022-02-13T12:29:17.530" v="74" actId="47"/>
        <pc:sldMkLst>
          <pc:docMk/>
          <pc:sldMk cId="3439814073" sldId="571"/>
        </pc:sldMkLst>
      </pc:sldChg>
      <pc:sldChg chg="modSp new mod modTransition modNotesTx">
        <pc:chgData name="Thomas Stensitzki" userId="75cafe6b-2f2a-469b-85c4-eec3b9c972ba" providerId="ADAL" clId="{732483C3-CB0C-4598-9DB1-778FE3877DE7}" dt="2022-02-16T13:35:41.009" v="1677"/>
        <pc:sldMkLst>
          <pc:docMk/>
          <pc:sldMk cId="3500137736" sldId="571"/>
        </pc:sldMkLst>
        <pc:spChg chg="mod">
          <ac:chgData name="Thomas Stensitzki" userId="75cafe6b-2f2a-469b-85c4-eec3b9c972ba" providerId="ADAL" clId="{732483C3-CB0C-4598-9DB1-778FE3877DE7}" dt="2022-02-13T13:01:25.016" v="476"/>
          <ac:spMkLst>
            <pc:docMk/>
            <pc:sldMk cId="3500137736" sldId="571"/>
            <ac:spMk id="2" creationId="{72018619-2CAF-432E-A6A8-ECD748C02E56}"/>
          </ac:spMkLst>
        </pc:spChg>
        <pc:spChg chg="mod">
          <ac:chgData name="Thomas Stensitzki" userId="75cafe6b-2f2a-469b-85c4-eec3b9c972ba" providerId="ADAL" clId="{732483C3-CB0C-4598-9DB1-778FE3877DE7}" dt="2022-02-13T13:02:16.429" v="477"/>
          <ac:spMkLst>
            <pc:docMk/>
            <pc:sldMk cId="3500137736" sldId="571"/>
            <ac:spMk id="3" creationId="{A4F1D448-84D0-4496-9C85-0BA3EE3C11D8}"/>
          </ac:spMkLst>
        </pc:spChg>
      </pc:sldChg>
      <pc:sldChg chg="modSp new mod modTransition modNotesTx">
        <pc:chgData name="Thomas Stensitzki" userId="75cafe6b-2f2a-469b-85c4-eec3b9c972ba" providerId="ADAL" clId="{732483C3-CB0C-4598-9DB1-778FE3877DE7}" dt="2022-02-16T13:37:00.310" v="1735" actId="20577"/>
        <pc:sldMkLst>
          <pc:docMk/>
          <pc:sldMk cId="3650339848" sldId="572"/>
        </pc:sldMkLst>
        <pc:spChg chg="mod">
          <ac:chgData name="Thomas Stensitzki" userId="75cafe6b-2f2a-469b-85c4-eec3b9c972ba" providerId="ADAL" clId="{732483C3-CB0C-4598-9DB1-778FE3877DE7}" dt="2022-02-13T13:03:23.173" v="485"/>
          <ac:spMkLst>
            <pc:docMk/>
            <pc:sldMk cId="3650339848" sldId="572"/>
            <ac:spMk id="2" creationId="{4AF704F4-5793-49CA-9C72-9AB75DFEFCA3}"/>
          </ac:spMkLst>
        </pc:spChg>
        <pc:spChg chg="mod">
          <ac:chgData name="Thomas Stensitzki" userId="75cafe6b-2f2a-469b-85c4-eec3b9c972ba" providerId="ADAL" clId="{732483C3-CB0C-4598-9DB1-778FE3877DE7}" dt="2022-02-16T13:37:00.310" v="1735" actId="20577"/>
          <ac:spMkLst>
            <pc:docMk/>
            <pc:sldMk cId="3650339848" sldId="572"/>
            <ac:spMk id="3" creationId="{FB4F1D8E-EA0D-4E76-891B-10A0B7D3A069}"/>
          </ac:spMkLst>
        </pc:spChg>
      </pc:sldChg>
      <pc:sldChg chg="del">
        <pc:chgData name="Thomas Stensitzki" userId="75cafe6b-2f2a-469b-85c4-eec3b9c972ba" providerId="ADAL" clId="{732483C3-CB0C-4598-9DB1-778FE3877DE7}" dt="2022-02-13T12:29:48.194" v="77" actId="47"/>
        <pc:sldMkLst>
          <pc:docMk/>
          <pc:sldMk cId="3856037473" sldId="572"/>
        </pc:sldMkLst>
      </pc:sldChg>
      <pc:sldChg chg="del">
        <pc:chgData name="Thomas Stensitzki" userId="75cafe6b-2f2a-469b-85c4-eec3b9c972ba" providerId="ADAL" clId="{732483C3-CB0C-4598-9DB1-778FE3877DE7}" dt="2022-02-13T12:29:09.990" v="73" actId="47"/>
        <pc:sldMkLst>
          <pc:docMk/>
          <pc:sldMk cId="438806011" sldId="573"/>
        </pc:sldMkLst>
      </pc:sldChg>
      <pc:sldChg chg="addSp delSp modSp new mod modTransition">
        <pc:chgData name="Thomas Stensitzki" userId="75cafe6b-2f2a-469b-85c4-eec3b9c972ba" providerId="ADAL" clId="{732483C3-CB0C-4598-9DB1-778FE3877DE7}" dt="2022-02-16T13:35:41.009" v="1677"/>
        <pc:sldMkLst>
          <pc:docMk/>
          <pc:sldMk cId="1013366872" sldId="573"/>
        </pc:sldMkLst>
        <pc:spChg chg="mod">
          <ac:chgData name="Thomas Stensitzki" userId="75cafe6b-2f2a-469b-85c4-eec3b9c972ba" providerId="ADAL" clId="{732483C3-CB0C-4598-9DB1-778FE3877DE7}" dt="2022-02-13T13:08:48.738" v="585"/>
          <ac:spMkLst>
            <pc:docMk/>
            <pc:sldMk cId="1013366872" sldId="573"/>
            <ac:spMk id="2" creationId="{529C4F4D-6397-41DA-944A-CF3D73EDBDF4}"/>
          </ac:spMkLst>
        </pc:spChg>
        <pc:spChg chg="del">
          <ac:chgData name="Thomas Stensitzki" userId="75cafe6b-2f2a-469b-85c4-eec3b9c972ba" providerId="ADAL" clId="{732483C3-CB0C-4598-9DB1-778FE3877DE7}" dt="2022-02-13T13:09:09.901" v="586" actId="478"/>
          <ac:spMkLst>
            <pc:docMk/>
            <pc:sldMk cId="1013366872" sldId="573"/>
            <ac:spMk id="3" creationId="{F5CBA397-74A1-4F37-8C68-56FA72B7281E}"/>
          </ac:spMkLst>
        </pc:spChg>
        <pc:spChg chg="add mod">
          <ac:chgData name="Thomas Stensitzki" userId="75cafe6b-2f2a-469b-85c4-eec3b9c972ba" providerId="ADAL" clId="{732483C3-CB0C-4598-9DB1-778FE3877DE7}" dt="2022-02-13T13:09:52.727" v="593" actId="14100"/>
          <ac:spMkLst>
            <pc:docMk/>
            <pc:sldMk cId="1013366872" sldId="573"/>
            <ac:spMk id="5" creationId="{AF2206FE-E125-4BB8-A4FB-6790C85E456D}"/>
          </ac:spMkLst>
        </pc:spChg>
        <pc:picChg chg="add mod">
          <ac:chgData name="Thomas Stensitzki" userId="75cafe6b-2f2a-469b-85c4-eec3b9c972ba" providerId="ADAL" clId="{732483C3-CB0C-4598-9DB1-778FE3877DE7}" dt="2022-02-13T13:09:29.785" v="590" actId="1440"/>
          <ac:picMkLst>
            <pc:docMk/>
            <pc:sldMk cId="1013366872" sldId="573"/>
            <ac:picMk id="3074" creationId="{D6F0604D-887C-4CCF-AD31-4C8A7DFFC46A}"/>
          </ac:picMkLst>
        </pc:picChg>
      </pc:sldChg>
      <pc:sldChg chg="del">
        <pc:chgData name="Thomas Stensitzki" userId="75cafe6b-2f2a-469b-85c4-eec3b9c972ba" providerId="ADAL" clId="{732483C3-CB0C-4598-9DB1-778FE3877DE7}" dt="2022-02-13T12:29:09.990" v="73" actId="47"/>
        <pc:sldMkLst>
          <pc:docMk/>
          <pc:sldMk cId="1351629711" sldId="574"/>
        </pc:sldMkLst>
      </pc:sldChg>
      <pc:sldChg chg="addSp modSp new mod modTransition">
        <pc:chgData name="Thomas Stensitzki" userId="75cafe6b-2f2a-469b-85c4-eec3b9c972ba" providerId="ADAL" clId="{732483C3-CB0C-4598-9DB1-778FE3877DE7}" dt="2022-02-16T13:39:26.308" v="1796" actId="20577"/>
        <pc:sldMkLst>
          <pc:docMk/>
          <pc:sldMk cId="3064786489" sldId="574"/>
        </pc:sldMkLst>
        <pc:spChg chg="mod">
          <ac:chgData name="Thomas Stensitzki" userId="75cafe6b-2f2a-469b-85c4-eec3b9c972ba" providerId="ADAL" clId="{732483C3-CB0C-4598-9DB1-778FE3877DE7}" dt="2022-02-13T13:36:27.855" v="621"/>
          <ac:spMkLst>
            <pc:docMk/>
            <pc:sldMk cId="3064786489" sldId="574"/>
            <ac:spMk id="2" creationId="{FBC6064E-5EE8-453C-8B3F-2CD673C03B44}"/>
          </ac:spMkLst>
        </pc:spChg>
        <pc:spChg chg="mod">
          <ac:chgData name="Thomas Stensitzki" userId="75cafe6b-2f2a-469b-85c4-eec3b9c972ba" providerId="ADAL" clId="{732483C3-CB0C-4598-9DB1-778FE3877DE7}" dt="2022-02-16T13:39:26.308" v="1796" actId="20577"/>
          <ac:spMkLst>
            <pc:docMk/>
            <pc:sldMk cId="3064786489" sldId="574"/>
            <ac:spMk id="3" creationId="{E4843152-CFE7-423B-860D-D9674DAF34EE}"/>
          </ac:spMkLst>
        </pc:spChg>
        <pc:picChg chg="add mod">
          <ac:chgData name="Thomas Stensitzki" userId="75cafe6b-2f2a-469b-85c4-eec3b9c972ba" providerId="ADAL" clId="{732483C3-CB0C-4598-9DB1-778FE3877DE7}" dt="2022-02-16T13:39:02.539" v="1792" actId="1440"/>
          <ac:picMkLst>
            <pc:docMk/>
            <pc:sldMk cId="3064786489" sldId="574"/>
            <ac:picMk id="4098" creationId="{9E78F526-137A-4B35-A6B9-0E97739C21F4}"/>
          </ac:picMkLst>
        </pc:picChg>
      </pc:sldChg>
      <pc:sldChg chg="del">
        <pc:chgData name="Thomas Stensitzki" userId="75cafe6b-2f2a-469b-85c4-eec3b9c972ba" providerId="ADAL" clId="{732483C3-CB0C-4598-9DB1-778FE3877DE7}" dt="2022-02-13T12:29:09.990" v="73" actId="47"/>
        <pc:sldMkLst>
          <pc:docMk/>
          <pc:sldMk cId="482620437" sldId="575"/>
        </pc:sldMkLst>
      </pc:sldChg>
      <pc:sldChg chg="modSp add mod ord modTransition">
        <pc:chgData name="Thomas Stensitzki" userId="75cafe6b-2f2a-469b-85c4-eec3b9c972ba" providerId="ADAL" clId="{732483C3-CB0C-4598-9DB1-778FE3877DE7}" dt="2022-02-16T13:35:41.009" v="1677"/>
        <pc:sldMkLst>
          <pc:docMk/>
          <pc:sldMk cId="2959338283" sldId="575"/>
        </pc:sldMkLst>
        <pc:spChg chg="mod">
          <ac:chgData name="Thomas Stensitzki" userId="75cafe6b-2f2a-469b-85c4-eec3b9c972ba" providerId="ADAL" clId="{732483C3-CB0C-4598-9DB1-778FE3877DE7}" dt="2022-02-14T11:34:16.007" v="1269" actId="1035"/>
          <ac:spMkLst>
            <pc:docMk/>
            <pc:sldMk cId="2959338283" sldId="575"/>
            <ac:spMk id="2" creationId="{909DC09D-B9A6-4493-9A72-1CA7ECB1F5CA}"/>
          </ac:spMkLst>
        </pc:spChg>
        <pc:spChg chg="mod">
          <ac:chgData name="Thomas Stensitzki" userId="75cafe6b-2f2a-469b-85c4-eec3b9c972ba" providerId="ADAL" clId="{732483C3-CB0C-4598-9DB1-778FE3877DE7}" dt="2022-02-14T08:51:53" v="1204"/>
          <ac:spMkLst>
            <pc:docMk/>
            <pc:sldMk cId="2959338283" sldId="575"/>
            <ac:spMk id="5" creationId="{C24DACB5-1BEC-4C86-9652-BAFD8DE56FEF}"/>
          </ac:spMkLst>
        </pc:spChg>
      </pc:sldChg>
      <pc:sldChg chg="addSp delSp modSp new mod modTransition modAnim modNotesTx">
        <pc:chgData name="Thomas Stensitzki" userId="75cafe6b-2f2a-469b-85c4-eec3b9c972ba" providerId="ADAL" clId="{732483C3-CB0C-4598-9DB1-778FE3877DE7}" dt="2022-02-16T13:40:46.227" v="1802" actId="1076"/>
        <pc:sldMkLst>
          <pc:docMk/>
          <pc:sldMk cId="267886642" sldId="576"/>
        </pc:sldMkLst>
        <pc:spChg chg="mod">
          <ac:chgData name="Thomas Stensitzki" userId="75cafe6b-2f2a-469b-85c4-eec3b9c972ba" providerId="ADAL" clId="{732483C3-CB0C-4598-9DB1-778FE3877DE7}" dt="2022-02-13T13:38:41.418" v="651"/>
          <ac:spMkLst>
            <pc:docMk/>
            <pc:sldMk cId="267886642" sldId="576"/>
            <ac:spMk id="2" creationId="{89843AE1-87BD-4263-8527-5A5117F6CE06}"/>
          </ac:spMkLst>
        </pc:spChg>
        <pc:spChg chg="del">
          <ac:chgData name="Thomas Stensitzki" userId="75cafe6b-2f2a-469b-85c4-eec3b9c972ba" providerId="ADAL" clId="{732483C3-CB0C-4598-9DB1-778FE3877DE7}" dt="2022-02-13T13:39:03.050" v="653" actId="478"/>
          <ac:spMkLst>
            <pc:docMk/>
            <pc:sldMk cId="267886642" sldId="576"/>
            <ac:spMk id="3" creationId="{CE4850BA-55A8-4DFD-A73A-C49ADEA45D9E}"/>
          </ac:spMkLst>
        </pc:spChg>
        <pc:spChg chg="add mod">
          <ac:chgData name="Thomas Stensitzki" userId="75cafe6b-2f2a-469b-85c4-eec3b9c972ba" providerId="ADAL" clId="{732483C3-CB0C-4598-9DB1-778FE3877DE7}" dt="2022-02-16T13:40:36.290" v="1801" actId="14100"/>
          <ac:spMkLst>
            <pc:docMk/>
            <pc:sldMk cId="267886642" sldId="576"/>
            <ac:spMk id="5" creationId="{DB51CC4D-58A1-41A1-8B67-9B71EF6CFE7A}"/>
          </ac:spMkLst>
        </pc:spChg>
        <pc:picChg chg="add mod">
          <ac:chgData name="Thomas Stensitzki" userId="75cafe6b-2f2a-469b-85c4-eec3b9c972ba" providerId="ADAL" clId="{732483C3-CB0C-4598-9DB1-778FE3877DE7}" dt="2022-02-13T13:39:28.915" v="659" actId="1076"/>
          <ac:picMkLst>
            <pc:docMk/>
            <pc:sldMk cId="267886642" sldId="576"/>
            <ac:picMk id="5122" creationId="{341A99A4-FFA5-49A2-857B-71EDA6366F0A}"/>
          </ac:picMkLst>
        </pc:picChg>
        <pc:picChg chg="add mod">
          <ac:chgData name="Thomas Stensitzki" userId="75cafe6b-2f2a-469b-85c4-eec3b9c972ba" providerId="ADAL" clId="{732483C3-CB0C-4598-9DB1-778FE3877DE7}" dt="2022-02-16T13:40:46.227" v="1802" actId="1076"/>
          <ac:picMkLst>
            <pc:docMk/>
            <pc:sldMk cId="267886642" sldId="576"/>
            <ac:picMk id="5124" creationId="{6B04FE5D-029D-4028-BA72-74A013D5D499}"/>
          </ac:picMkLst>
        </pc:picChg>
      </pc:sldChg>
      <pc:sldChg chg="add del">
        <pc:chgData name="Thomas Stensitzki" userId="75cafe6b-2f2a-469b-85c4-eec3b9c972ba" providerId="ADAL" clId="{732483C3-CB0C-4598-9DB1-778FE3877DE7}" dt="2022-02-13T12:29:48.194" v="77" actId="47"/>
        <pc:sldMkLst>
          <pc:docMk/>
          <pc:sldMk cId="1228494520" sldId="576"/>
        </pc:sldMkLst>
      </pc:sldChg>
      <pc:sldChg chg="add del">
        <pc:chgData name="Thomas Stensitzki" userId="75cafe6b-2f2a-469b-85c4-eec3b9c972ba" providerId="ADAL" clId="{732483C3-CB0C-4598-9DB1-778FE3877DE7}" dt="2022-02-13T12:29:48.194" v="77" actId="47"/>
        <pc:sldMkLst>
          <pc:docMk/>
          <pc:sldMk cId="2011711741" sldId="577"/>
        </pc:sldMkLst>
      </pc:sldChg>
      <pc:sldChg chg="addSp modSp new mod modTransition">
        <pc:chgData name="Thomas Stensitzki" userId="75cafe6b-2f2a-469b-85c4-eec3b9c972ba" providerId="ADAL" clId="{732483C3-CB0C-4598-9DB1-778FE3877DE7}" dt="2022-02-16T13:35:41.009" v="1677"/>
        <pc:sldMkLst>
          <pc:docMk/>
          <pc:sldMk cId="3394268917" sldId="577"/>
        </pc:sldMkLst>
        <pc:spChg chg="mod">
          <ac:chgData name="Thomas Stensitzki" userId="75cafe6b-2f2a-469b-85c4-eec3b9c972ba" providerId="ADAL" clId="{732483C3-CB0C-4598-9DB1-778FE3877DE7}" dt="2022-02-13T13:40:44.909" v="666"/>
          <ac:spMkLst>
            <pc:docMk/>
            <pc:sldMk cId="3394268917" sldId="577"/>
            <ac:spMk id="2" creationId="{14E06E20-F5A8-4CF9-9629-C11ACC38DD5C}"/>
          </ac:spMkLst>
        </pc:spChg>
        <pc:spChg chg="mod">
          <ac:chgData name="Thomas Stensitzki" userId="75cafe6b-2f2a-469b-85c4-eec3b9c972ba" providerId="ADAL" clId="{732483C3-CB0C-4598-9DB1-778FE3877DE7}" dt="2022-02-13T13:45:13.531" v="718" actId="20577"/>
          <ac:spMkLst>
            <pc:docMk/>
            <pc:sldMk cId="3394268917" sldId="577"/>
            <ac:spMk id="3" creationId="{D3D386A5-5B5A-4243-89A1-011C243D89A4}"/>
          </ac:spMkLst>
        </pc:spChg>
        <pc:picChg chg="add mod">
          <ac:chgData name="Thomas Stensitzki" userId="75cafe6b-2f2a-469b-85c4-eec3b9c972ba" providerId="ADAL" clId="{732483C3-CB0C-4598-9DB1-778FE3877DE7}" dt="2022-02-13T13:41:00.137" v="669" actId="1440"/>
          <ac:picMkLst>
            <pc:docMk/>
            <pc:sldMk cId="3394268917" sldId="577"/>
            <ac:picMk id="6146" creationId="{1EF13E2D-2D5F-4BD3-A3ED-3805FD26C60A}"/>
          </ac:picMkLst>
        </pc:picChg>
        <pc:picChg chg="add mod">
          <ac:chgData name="Thomas Stensitzki" userId="75cafe6b-2f2a-469b-85c4-eec3b9c972ba" providerId="ADAL" clId="{732483C3-CB0C-4598-9DB1-778FE3877DE7}" dt="2022-02-13T13:41:53.514" v="675" actId="1440"/>
          <ac:picMkLst>
            <pc:docMk/>
            <pc:sldMk cId="3394268917" sldId="577"/>
            <ac:picMk id="6148" creationId="{62EBD371-2D59-4540-BD6F-91B4F6A6F34D}"/>
          </ac:picMkLst>
        </pc:picChg>
      </pc:sldChg>
      <pc:sldChg chg="addSp modSp new mod modTransition modAnim">
        <pc:chgData name="Thomas Stensitzki" userId="75cafe6b-2f2a-469b-85c4-eec3b9c972ba" providerId="ADAL" clId="{732483C3-CB0C-4598-9DB1-778FE3877DE7}" dt="2022-02-16T13:42:51.770" v="1821"/>
        <pc:sldMkLst>
          <pc:docMk/>
          <pc:sldMk cId="42815850" sldId="578"/>
        </pc:sldMkLst>
        <pc:spChg chg="mod">
          <ac:chgData name="Thomas Stensitzki" userId="75cafe6b-2f2a-469b-85c4-eec3b9c972ba" providerId="ADAL" clId="{732483C3-CB0C-4598-9DB1-778FE3877DE7}" dt="2022-02-13T13:46:01.694" v="722"/>
          <ac:spMkLst>
            <pc:docMk/>
            <pc:sldMk cId="42815850" sldId="578"/>
            <ac:spMk id="2" creationId="{F2BAC164-C67C-4CF6-8FEF-0A58F7C186FB}"/>
          </ac:spMkLst>
        </pc:spChg>
        <pc:spChg chg="mod">
          <ac:chgData name="Thomas Stensitzki" userId="75cafe6b-2f2a-469b-85c4-eec3b9c972ba" providerId="ADAL" clId="{732483C3-CB0C-4598-9DB1-778FE3877DE7}" dt="2022-02-13T13:47:40.594" v="918" actId="20577"/>
          <ac:spMkLst>
            <pc:docMk/>
            <pc:sldMk cId="42815850" sldId="578"/>
            <ac:spMk id="3" creationId="{61FAB764-0135-40E5-880E-B674B87488B2}"/>
          </ac:spMkLst>
        </pc:spChg>
        <pc:spChg chg="add mod">
          <ac:chgData name="Thomas Stensitzki" userId="75cafe6b-2f2a-469b-85c4-eec3b9c972ba" providerId="ADAL" clId="{732483C3-CB0C-4598-9DB1-778FE3877DE7}" dt="2022-02-16T13:42:20.013" v="1814" actId="1076"/>
          <ac:spMkLst>
            <pc:docMk/>
            <pc:sldMk cId="42815850" sldId="578"/>
            <ac:spMk id="6" creationId="{B07F98FC-3D39-4D44-B4B7-EE3809037F7F}"/>
          </ac:spMkLst>
        </pc:spChg>
        <pc:spChg chg="add mod">
          <ac:chgData name="Thomas Stensitzki" userId="75cafe6b-2f2a-469b-85c4-eec3b9c972ba" providerId="ADAL" clId="{732483C3-CB0C-4598-9DB1-778FE3877DE7}" dt="2022-02-16T13:42:42.406" v="1819" actId="14100"/>
          <ac:spMkLst>
            <pc:docMk/>
            <pc:sldMk cId="42815850" sldId="578"/>
            <ac:spMk id="7" creationId="{5CFD42B4-85AC-4C1D-9619-39E2A48AE104}"/>
          </ac:spMkLst>
        </pc:spChg>
        <pc:picChg chg="add mod">
          <ac:chgData name="Thomas Stensitzki" userId="75cafe6b-2f2a-469b-85c4-eec3b9c972ba" providerId="ADAL" clId="{732483C3-CB0C-4598-9DB1-778FE3877DE7}" dt="2022-02-16T13:42:15.053" v="1813" actId="1076"/>
          <ac:picMkLst>
            <pc:docMk/>
            <pc:sldMk cId="42815850" sldId="578"/>
            <ac:picMk id="7170" creationId="{05E65FA8-5D0A-43D3-A0DE-BB2312EB1910}"/>
          </ac:picMkLst>
        </pc:picChg>
        <pc:picChg chg="add mod">
          <ac:chgData name="Thomas Stensitzki" userId="75cafe6b-2f2a-469b-85c4-eec3b9c972ba" providerId="ADAL" clId="{732483C3-CB0C-4598-9DB1-778FE3877DE7}" dt="2022-02-16T13:42:24.405" v="1815" actId="1076"/>
          <ac:picMkLst>
            <pc:docMk/>
            <pc:sldMk cId="42815850" sldId="578"/>
            <ac:picMk id="7172" creationId="{91719DFD-3AFB-46AB-ADBC-A2DC13B65408}"/>
          </ac:picMkLst>
        </pc:picChg>
      </pc:sldChg>
      <pc:sldChg chg="add del">
        <pc:chgData name="Thomas Stensitzki" userId="75cafe6b-2f2a-469b-85c4-eec3b9c972ba" providerId="ADAL" clId="{732483C3-CB0C-4598-9DB1-778FE3877DE7}" dt="2022-02-13T12:29:48.194" v="77" actId="47"/>
        <pc:sldMkLst>
          <pc:docMk/>
          <pc:sldMk cId="4025581486" sldId="578"/>
        </pc:sldMkLst>
      </pc:sldChg>
      <pc:sldChg chg="add del">
        <pc:chgData name="Thomas Stensitzki" userId="75cafe6b-2f2a-469b-85c4-eec3b9c972ba" providerId="ADAL" clId="{732483C3-CB0C-4598-9DB1-778FE3877DE7}" dt="2022-02-13T12:29:48.194" v="77" actId="47"/>
        <pc:sldMkLst>
          <pc:docMk/>
          <pc:sldMk cId="3181657178" sldId="579"/>
        </pc:sldMkLst>
      </pc:sldChg>
      <pc:sldChg chg="modSp new del mod modTransition">
        <pc:chgData name="Thomas Stensitzki" userId="75cafe6b-2f2a-469b-85c4-eec3b9c972ba" providerId="ADAL" clId="{732483C3-CB0C-4598-9DB1-778FE3877DE7}" dt="2022-02-16T13:48:26.935" v="1849" actId="47"/>
        <pc:sldMkLst>
          <pc:docMk/>
          <pc:sldMk cId="3415779109" sldId="579"/>
        </pc:sldMkLst>
        <pc:spChg chg="mod">
          <ac:chgData name="Thomas Stensitzki" userId="75cafe6b-2f2a-469b-85c4-eec3b9c972ba" providerId="ADAL" clId="{732483C3-CB0C-4598-9DB1-778FE3877DE7}" dt="2022-02-13T13:50:42.335" v="929"/>
          <ac:spMkLst>
            <pc:docMk/>
            <pc:sldMk cId="3415779109" sldId="579"/>
            <ac:spMk id="2" creationId="{75150DFA-0036-42B2-B4B8-455E5CBE9AA4}"/>
          </ac:spMkLst>
        </pc:spChg>
      </pc:sldChg>
      <pc:sldChg chg="add del">
        <pc:chgData name="Thomas Stensitzki" userId="75cafe6b-2f2a-469b-85c4-eec3b9c972ba" providerId="ADAL" clId="{732483C3-CB0C-4598-9DB1-778FE3877DE7}" dt="2022-02-13T12:29:48.194" v="77" actId="47"/>
        <pc:sldMkLst>
          <pc:docMk/>
          <pc:sldMk cId="324323579" sldId="580"/>
        </pc:sldMkLst>
      </pc:sldChg>
      <pc:sldChg chg="modSp add mod ord modTransition modNotesTx">
        <pc:chgData name="Thomas Stensitzki" userId="75cafe6b-2f2a-469b-85c4-eec3b9c972ba" providerId="ADAL" clId="{732483C3-CB0C-4598-9DB1-778FE3877DE7}" dt="2022-02-16T13:52:25.024" v="1891" actId="6549"/>
        <pc:sldMkLst>
          <pc:docMk/>
          <pc:sldMk cId="1853019381" sldId="580"/>
        </pc:sldMkLst>
        <pc:spChg chg="mod">
          <ac:chgData name="Thomas Stensitzki" userId="75cafe6b-2f2a-469b-85c4-eec3b9c972ba" providerId="ADAL" clId="{732483C3-CB0C-4598-9DB1-778FE3877DE7}" dt="2022-02-16T13:50:53.819" v="1881" actId="1076"/>
          <ac:spMkLst>
            <pc:docMk/>
            <pc:sldMk cId="1853019381" sldId="580"/>
            <ac:spMk id="2" creationId="{909DC09D-B9A6-4493-9A72-1CA7ECB1F5CA}"/>
          </ac:spMkLst>
        </pc:spChg>
        <pc:spChg chg="mod">
          <ac:chgData name="Thomas Stensitzki" userId="75cafe6b-2f2a-469b-85c4-eec3b9c972ba" providerId="ADAL" clId="{732483C3-CB0C-4598-9DB1-778FE3877DE7}" dt="2022-02-16T13:51:36.032" v="1888" actId="20577"/>
          <ac:spMkLst>
            <pc:docMk/>
            <pc:sldMk cId="1853019381" sldId="580"/>
            <ac:spMk id="5" creationId="{C24DACB5-1BEC-4C86-9652-BAFD8DE56FEF}"/>
          </ac:spMkLst>
        </pc:spChg>
      </pc:sldChg>
      <pc:sldChg chg="modSp new mod modTransition modNotesTx">
        <pc:chgData name="Thomas Stensitzki" userId="75cafe6b-2f2a-469b-85c4-eec3b9c972ba" providerId="ADAL" clId="{732483C3-CB0C-4598-9DB1-778FE3877DE7}" dt="2022-02-16T13:45:19.322" v="1829" actId="113"/>
        <pc:sldMkLst>
          <pc:docMk/>
          <pc:sldMk cId="2983071606" sldId="581"/>
        </pc:sldMkLst>
        <pc:spChg chg="mod">
          <ac:chgData name="Thomas Stensitzki" userId="75cafe6b-2f2a-469b-85c4-eec3b9c972ba" providerId="ADAL" clId="{732483C3-CB0C-4598-9DB1-778FE3877DE7}" dt="2022-02-13T13:54:02.519" v="936"/>
          <ac:spMkLst>
            <pc:docMk/>
            <pc:sldMk cId="2983071606" sldId="581"/>
            <ac:spMk id="2" creationId="{72A8CA07-04E5-4D86-AF4F-FD491A7FB84D}"/>
          </ac:spMkLst>
        </pc:spChg>
        <pc:spChg chg="mod">
          <ac:chgData name="Thomas Stensitzki" userId="75cafe6b-2f2a-469b-85c4-eec3b9c972ba" providerId="ADAL" clId="{732483C3-CB0C-4598-9DB1-778FE3877DE7}" dt="2022-02-16T13:45:19.322" v="1829" actId="113"/>
          <ac:spMkLst>
            <pc:docMk/>
            <pc:sldMk cId="2983071606" sldId="581"/>
            <ac:spMk id="3" creationId="{B13549D5-F412-4F7E-B7AA-30C47BE72C34}"/>
          </ac:spMkLst>
        </pc:spChg>
      </pc:sldChg>
      <pc:sldChg chg="add del">
        <pc:chgData name="Thomas Stensitzki" userId="75cafe6b-2f2a-469b-85c4-eec3b9c972ba" providerId="ADAL" clId="{732483C3-CB0C-4598-9DB1-778FE3877DE7}" dt="2022-02-13T12:29:48.194" v="77" actId="47"/>
        <pc:sldMkLst>
          <pc:docMk/>
          <pc:sldMk cId="3981601369" sldId="581"/>
        </pc:sldMkLst>
      </pc:sldChg>
      <pc:sldChg chg="addSp delSp modSp new mod modTransition modNotesTx">
        <pc:chgData name="Thomas Stensitzki" userId="75cafe6b-2f2a-469b-85c4-eec3b9c972ba" providerId="ADAL" clId="{732483C3-CB0C-4598-9DB1-778FE3877DE7}" dt="2022-02-16T13:46:29.889" v="1837" actId="478"/>
        <pc:sldMkLst>
          <pc:docMk/>
          <pc:sldMk cId="170210111" sldId="582"/>
        </pc:sldMkLst>
        <pc:spChg chg="mod">
          <ac:chgData name="Thomas Stensitzki" userId="75cafe6b-2f2a-469b-85c4-eec3b9c972ba" providerId="ADAL" clId="{732483C3-CB0C-4598-9DB1-778FE3877DE7}" dt="2022-02-13T13:55:11.343" v="942"/>
          <ac:spMkLst>
            <pc:docMk/>
            <pc:sldMk cId="170210111" sldId="582"/>
            <ac:spMk id="2" creationId="{B81C7D31-11B7-43A6-9C01-962FDD5B52DF}"/>
          </ac:spMkLst>
        </pc:spChg>
        <pc:spChg chg="del">
          <ac:chgData name="Thomas Stensitzki" userId="75cafe6b-2f2a-469b-85c4-eec3b9c972ba" providerId="ADAL" clId="{732483C3-CB0C-4598-9DB1-778FE3877DE7}" dt="2022-02-13T13:55:20.235" v="943" actId="478"/>
          <ac:spMkLst>
            <pc:docMk/>
            <pc:sldMk cId="170210111" sldId="582"/>
            <ac:spMk id="3" creationId="{BD2460AC-2183-42D3-AE37-214A06B80137}"/>
          </ac:spMkLst>
        </pc:spChg>
        <pc:picChg chg="add mod">
          <ac:chgData name="Thomas Stensitzki" userId="75cafe6b-2f2a-469b-85c4-eec3b9c972ba" providerId="ADAL" clId="{732483C3-CB0C-4598-9DB1-778FE3877DE7}" dt="2022-02-16T13:46:19.643" v="1835" actId="1076"/>
          <ac:picMkLst>
            <pc:docMk/>
            <pc:sldMk cId="170210111" sldId="582"/>
            <ac:picMk id="8194" creationId="{AFD980FE-4282-4263-AD1E-4D6DAC9F98E5}"/>
          </ac:picMkLst>
        </pc:picChg>
        <pc:picChg chg="add del mod">
          <ac:chgData name="Thomas Stensitzki" userId="75cafe6b-2f2a-469b-85c4-eec3b9c972ba" providerId="ADAL" clId="{732483C3-CB0C-4598-9DB1-778FE3877DE7}" dt="2022-02-16T13:46:29.889" v="1837" actId="478"/>
          <ac:picMkLst>
            <pc:docMk/>
            <pc:sldMk cId="170210111" sldId="582"/>
            <ac:picMk id="8196" creationId="{1A602696-D323-49FA-84C8-07E65F6E0E5C}"/>
          </ac:picMkLst>
        </pc:picChg>
      </pc:sldChg>
      <pc:sldChg chg="add del">
        <pc:chgData name="Thomas Stensitzki" userId="75cafe6b-2f2a-469b-85c4-eec3b9c972ba" providerId="ADAL" clId="{732483C3-CB0C-4598-9DB1-778FE3877DE7}" dt="2022-02-13T12:29:48.194" v="77" actId="47"/>
        <pc:sldMkLst>
          <pc:docMk/>
          <pc:sldMk cId="2226521450" sldId="582"/>
        </pc:sldMkLst>
      </pc:sldChg>
      <pc:sldChg chg="addSp delSp modSp new mod modTransition">
        <pc:chgData name="Thomas Stensitzki" userId="75cafe6b-2f2a-469b-85c4-eec3b9c972ba" providerId="ADAL" clId="{732483C3-CB0C-4598-9DB1-778FE3877DE7}" dt="2022-02-16T13:35:41.009" v="1677"/>
        <pc:sldMkLst>
          <pc:docMk/>
          <pc:sldMk cId="631042199" sldId="583"/>
        </pc:sldMkLst>
        <pc:spChg chg="mod">
          <ac:chgData name="Thomas Stensitzki" userId="75cafe6b-2f2a-469b-85c4-eec3b9c972ba" providerId="ADAL" clId="{732483C3-CB0C-4598-9DB1-778FE3877DE7}" dt="2022-02-14T08:39:15.570" v="1009" actId="20577"/>
          <ac:spMkLst>
            <pc:docMk/>
            <pc:sldMk cId="631042199" sldId="583"/>
            <ac:spMk id="2" creationId="{8621DF74-9799-499F-B39C-7DF69E310C72}"/>
          </ac:spMkLst>
        </pc:spChg>
        <pc:spChg chg="del">
          <ac:chgData name="Thomas Stensitzki" userId="75cafe6b-2f2a-469b-85c4-eec3b9c972ba" providerId="ADAL" clId="{732483C3-CB0C-4598-9DB1-778FE3877DE7}" dt="2022-02-14T08:40:00.259" v="1010" actId="478"/>
          <ac:spMkLst>
            <pc:docMk/>
            <pc:sldMk cId="631042199" sldId="583"/>
            <ac:spMk id="3" creationId="{6402D234-AEB1-469A-A530-6A48CDE43F77}"/>
          </ac:spMkLst>
        </pc:spChg>
        <pc:picChg chg="add mod">
          <ac:chgData name="Thomas Stensitzki" userId="75cafe6b-2f2a-469b-85c4-eec3b9c972ba" providerId="ADAL" clId="{732483C3-CB0C-4598-9DB1-778FE3877DE7}" dt="2022-02-14T08:41:56.182" v="1018" actId="1440"/>
          <ac:picMkLst>
            <pc:docMk/>
            <pc:sldMk cId="631042199" sldId="583"/>
            <ac:picMk id="5" creationId="{99B6819A-BEB1-4C2A-8907-9147194D4C88}"/>
          </ac:picMkLst>
        </pc:picChg>
        <pc:picChg chg="add mod">
          <ac:chgData name="Thomas Stensitzki" userId="75cafe6b-2f2a-469b-85c4-eec3b9c972ba" providerId="ADAL" clId="{732483C3-CB0C-4598-9DB1-778FE3877DE7}" dt="2022-02-14T08:41:50.768" v="1017" actId="1440"/>
          <ac:picMkLst>
            <pc:docMk/>
            <pc:sldMk cId="631042199" sldId="583"/>
            <ac:picMk id="7" creationId="{F53CE288-98CF-4C30-AB19-942EAB56FB1E}"/>
          </ac:picMkLst>
        </pc:picChg>
      </pc:sldChg>
      <pc:sldChg chg="del">
        <pc:chgData name="Thomas Stensitzki" userId="75cafe6b-2f2a-469b-85c4-eec3b9c972ba" providerId="ADAL" clId="{732483C3-CB0C-4598-9DB1-778FE3877DE7}" dt="2022-02-13T12:29:09.990" v="73" actId="47"/>
        <pc:sldMkLst>
          <pc:docMk/>
          <pc:sldMk cId="3960845148" sldId="583"/>
        </pc:sldMkLst>
      </pc:sldChg>
      <pc:sldChg chg="addSp delSp modSp new mod modTransition modNotesTx">
        <pc:chgData name="Thomas Stensitzki" userId="75cafe6b-2f2a-469b-85c4-eec3b9c972ba" providerId="ADAL" clId="{732483C3-CB0C-4598-9DB1-778FE3877DE7}" dt="2022-02-16T13:35:41.009" v="1677"/>
        <pc:sldMkLst>
          <pc:docMk/>
          <pc:sldMk cId="120922638" sldId="584"/>
        </pc:sldMkLst>
        <pc:spChg chg="mod">
          <ac:chgData name="Thomas Stensitzki" userId="75cafe6b-2f2a-469b-85c4-eec3b9c972ba" providerId="ADAL" clId="{732483C3-CB0C-4598-9DB1-778FE3877DE7}" dt="2022-02-14T08:45:31.792" v="1095" actId="20577"/>
          <ac:spMkLst>
            <pc:docMk/>
            <pc:sldMk cId="120922638" sldId="584"/>
            <ac:spMk id="2" creationId="{C556861E-5551-4B01-B48C-2D4520DE757F}"/>
          </ac:spMkLst>
        </pc:spChg>
        <pc:spChg chg="del">
          <ac:chgData name="Thomas Stensitzki" userId="75cafe6b-2f2a-469b-85c4-eec3b9c972ba" providerId="ADAL" clId="{732483C3-CB0C-4598-9DB1-778FE3877DE7}" dt="2022-02-14T08:43:58.338" v="1085" actId="478"/>
          <ac:spMkLst>
            <pc:docMk/>
            <pc:sldMk cId="120922638" sldId="584"/>
            <ac:spMk id="3" creationId="{75679EB0-F1DE-44FA-9D9F-82590011543F}"/>
          </ac:spMkLst>
        </pc:spChg>
        <pc:picChg chg="add mod">
          <ac:chgData name="Thomas Stensitzki" userId="75cafe6b-2f2a-469b-85c4-eec3b9c972ba" providerId="ADAL" clId="{732483C3-CB0C-4598-9DB1-778FE3877DE7}" dt="2022-02-14T08:44:17.418" v="1089" actId="1440"/>
          <ac:picMkLst>
            <pc:docMk/>
            <pc:sldMk cId="120922638" sldId="584"/>
            <ac:picMk id="1026" creationId="{46C8CDFE-B590-4228-9496-3CF0F67428E5}"/>
          </ac:picMkLst>
        </pc:picChg>
      </pc:sldChg>
      <pc:sldChg chg="del">
        <pc:chgData name="Thomas Stensitzki" userId="75cafe6b-2f2a-469b-85c4-eec3b9c972ba" providerId="ADAL" clId="{732483C3-CB0C-4598-9DB1-778FE3877DE7}" dt="2022-02-13T12:29:09.990" v="73" actId="47"/>
        <pc:sldMkLst>
          <pc:docMk/>
          <pc:sldMk cId="2871808218" sldId="584"/>
        </pc:sldMkLst>
      </pc:sldChg>
      <pc:sldChg chg="del">
        <pc:chgData name="Thomas Stensitzki" userId="75cafe6b-2f2a-469b-85c4-eec3b9c972ba" providerId="ADAL" clId="{732483C3-CB0C-4598-9DB1-778FE3877DE7}" dt="2022-02-13T12:29:09.990" v="73" actId="47"/>
        <pc:sldMkLst>
          <pc:docMk/>
          <pc:sldMk cId="180834030" sldId="585"/>
        </pc:sldMkLst>
      </pc:sldChg>
      <pc:sldChg chg="addSp delSp modSp add mod modTransition">
        <pc:chgData name="Thomas Stensitzki" userId="75cafe6b-2f2a-469b-85c4-eec3b9c972ba" providerId="ADAL" clId="{732483C3-CB0C-4598-9DB1-778FE3877DE7}" dt="2022-02-16T13:35:41.009" v="1677"/>
        <pc:sldMkLst>
          <pc:docMk/>
          <pc:sldMk cId="569684178" sldId="585"/>
        </pc:sldMkLst>
        <pc:spChg chg="mod">
          <ac:chgData name="Thomas Stensitzki" userId="75cafe6b-2f2a-469b-85c4-eec3b9c972ba" providerId="ADAL" clId="{732483C3-CB0C-4598-9DB1-778FE3877DE7}" dt="2022-02-14T08:45:28.467" v="1094" actId="20577"/>
          <ac:spMkLst>
            <pc:docMk/>
            <pc:sldMk cId="569684178" sldId="585"/>
            <ac:spMk id="2" creationId="{C556861E-5551-4B01-B48C-2D4520DE757F}"/>
          </ac:spMkLst>
        </pc:spChg>
        <pc:spChg chg="add del">
          <ac:chgData name="Thomas Stensitzki" userId="75cafe6b-2f2a-469b-85c4-eec3b9c972ba" providerId="ADAL" clId="{732483C3-CB0C-4598-9DB1-778FE3877DE7}" dt="2022-02-14T08:45:41.811" v="1096" actId="478"/>
          <ac:spMkLst>
            <pc:docMk/>
            <pc:sldMk cId="569684178" sldId="585"/>
            <ac:spMk id="5" creationId="{996F64F6-989D-4382-A713-6B60A4389175}"/>
          </ac:spMkLst>
        </pc:spChg>
        <pc:picChg chg="del">
          <ac:chgData name="Thomas Stensitzki" userId="75cafe6b-2f2a-469b-85c4-eec3b9c972ba" providerId="ADAL" clId="{732483C3-CB0C-4598-9DB1-778FE3877DE7}" dt="2022-02-14T08:45:22.503" v="1092" actId="478"/>
          <ac:picMkLst>
            <pc:docMk/>
            <pc:sldMk cId="569684178" sldId="585"/>
            <ac:picMk id="1026" creationId="{46C8CDFE-B590-4228-9496-3CF0F67428E5}"/>
          </ac:picMkLst>
        </pc:picChg>
        <pc:picChg chg="add mod">
          <ac:chgData name="Thomas Stensitzki" userId="75cafe6b-2f2a-469b-85c4-eec3b9c972ba" providerId="ADAL" clId="{732483C3-CB0C-4598-9DB1-778FE3877DE7}" dt="2022-02-14T08:46:00.363" v="1100" actId="1440"/>
          <ac:picMkLst>
            <pc:docMk/>
            <pc:sldMk cId="569684178" sldId="585"/>
            <ac:picMk id="2050" creationId="{CF5F3097-2597-47E3-91E5-2547F725485D}"/>
          </ac:picMkLst>
        </pc:picChg>
      </pc:sldChg>
      <pc:sldChg chg="addSp delSp modSp new mod modTransition">
        <pc:chgData name="Thomas Stensitzki" userId="75cafe6b-2f2a-469b-85c4-eec3b9c972ba" providerId="ADAL" clId="{732483C3-CB0C-4598-9DB1-778FE3877DE7}" dt="2022-02-16T13:35:41.009" v="1677"/>
        <pc:sldMkLst>
          <pc:docMk/>
          <pc:sldMk cId="2892638827" sldId="586"/>
        </pc:sldMkLst>
        <pc:spChg chg="mod">
          <ac:chgData name="Thomas Stensitzki" userId="75cafe6b-2f2a-469b-85c4-eec3b9c972ba" providerId="ADAL" clId="{732483C3-CB0C-4598-9DB1-778FE3877DE7}" dt="2022-02-14T08:46:41.937" v="1104"/>
          <ac:spMkLst>
            <pc:docMk/>
            <pc:sldMk cId="2892638827" sldId="586"/>
            <ac:spMk id="2" creationId="{0732E4C7-AEAA-441F-9A7C-589775E8D0DB}"/>
          </ac:spMkLst>
        </pc:spChg>
        <pc:spChg chg="del">
          <ac:chgData name="Thomas Stensitzki" userId="75cafe6b-2f2a-469b-85c4-eec3b9c972ba" providerId="ADAL" clId="{732483C3-CB0C-4598-9DB1-778FE3877DE7}" dt="2022-02-14T08:46:50.525" v="1105" actId="478"/>
          <ac:spMkLst>
            <pc:docMk/>
            <pc:sldMk cId="2892638827" sldId="586"/>
            <ac:spMk id="3" creationId="{6536894C-3936-43E3-935A-BF4E445D1CD6}"/>
          </ac:spMkLst>
        </pc:spChg>
        <pc:picChg chg="add mod">
          <ac:chgData name="Thomas Stensitzki" userId="75cafe6b-2f2a-469b-85c4-eec3b9c972ba" providerId="ADAL" clId="{732483C3-CB0C-4598-9DB1-778FE3877DE7}" dt="2022-02-14T08:47:03.180" v="1109" actId="1440"/>
          <ac:picMkLst>
            <pc:docMk/>
            <pc:sldMk cId="2892638827" sldId="586"/>
            <ac:picMk id="3074" creationId="{CC6BD41E-A67C-4B3F-964F-1E9A4F483B83}"/>
          </ac:picMkLst>
        </pc:picChg>
      </pc:sldChg>
      <pc:sldChg chg="del">
        <pc:chgData name="Thomas Stensitzki" userId="75cafe6b-2f2a-469b-85c4-eec3b9c972ba" providerId="ADAL" clId="{732483C3-CB0C-4598-9DB1-778FE3877DE7}" dt="2022-02-13T12:29:09.990" v="73" actId="47"/>
        <pc:sldMkLst>
          <pc:docMk/>
          <pc:sldMk cId="3096191333" sldId="586"/>
        </pc:sldMkLst>
      </pc:sldChg>
      <pc:sldChg chg="modSp new mod modTransition modNotesTx">
        <pc:chgData name="Thomas Stensitzki" userId="75cafe6b-2f2a-469b-85c4-eec3b9c972ba" providerId="ADAL" clId="{732483C3-CB0C-4598-9DB1-778FE3877DE7}" dt="2022-02-16T13:35:41.009" v="1677"/>
        <pc:sldMkLst>
          <pc:docMk/>
          <pc:sldMk cId="952964549" sldId="587"/>
        </pc:sldMkLst>
        <pc:spChg chg="mod">
          <ac:chgData name="Thomas Stensitzki" userId="75cafe6b-2f2a-469b-85c4-eec3b9c972ba" providerId="ADAL" clId="{732483C3-CB0C-4598-9DB1-778FE3877DE7}" dt="2022-02-14T08:47:57.443" v="1113"/>
          <ac:spMkLst>
            <pc:docMk/>
            <pc:sldMk cId="952964549" sldId="587"/>
            <ac:spMk id="2" creationId="{0BA423E4-B806-433B-B319-3501C2828674}"/>
          </ac:spMkLst>
        </pc:spChg>
        <pc:spChg chg="mod">
          <ac:chgData name="Thomas Stensitzki" userId="75cafe6b-2f2a-469b-85c4-eec3b9c972ba" providerId="ADAL" clId="{732483C3-CB0C-4598-9DB1-778FE3877DE7}" dt="2022-02-14T08:50:33.820" v="1202" actId="113"/>
          <ac:spMkLst>
            <pc:docMk/>
            <pc:sldMk cId="952964549" sldId="587"/>
            <ac:spMk id="3" creationId="{892C9CFD-0555-461F-815C-7E869A6C691E}"/>
          </ac:spMkLst>
        </pc:spChg>
      </pc:sldChg>
      <pc:sldChg chg="del">
        <pc:chgData name="Thomas Stensitzki" userId="75cafe6b-2f2a-469b-85c4-eec3b9c972ba" providerId="ADAL" clId="{732483C3-CB0C-4598-9DB1-778FE3877DE7}" dt="2022-02-13T12:29:09.990" v="73" actId="47"/>
        <pc:sldMkLst>
          <pc:docMk/>
          <pc:sldMk cId="3386111181" sldId="587"/>
        </pc:sldMkLst>
      </pc:sldChg>
      <pc:sldChg chg="del">
        <pc:chgData name="Thomas Stensitzki" userId="75cafe6b-2f2a-469b-85c4-eec3b9c972ba" providerId="ADAL" clId="{732483C3-CB0C-4598-9DB1-778FE3877DE7}" dt="2022-02-13T12:29:09.990" v="73" actId="47"/>
        <pc:sldMkLst>
          <pc:docMk/>
          <pc:sldMk cId="3088514375" sldId="588"/>
        </pc:sldMkLst>
      </pc:sldChg>
      <pc:sldChg chg="addSp delSp modSp new add del mod modTransition">
        <pc:chgData name="Thomas Stensitzki" userId="75cafe6b-2f2a-469b-85c4-eec3b9c972ba" providerId="ADAL" clId="{732483C3-CB0C-4598-9DB1-778FE3877DE7}" dt="2022-02-16T13:35:41.009" v="1677"/>
        <pc:sldMkLst>
          <pc:docMk/>
          <pc:sldMk cId="3831261343" sldId="588"/>
        </pc:sldMkLst>
        <pc:spChg chg="mod">
          <ac:chgData name="Thomas Stensitzki" userId="75cafe6b-2f2a-469b-85c4-eec3b9c972ba" providerId="ADAL" clId="{732483C3-CB0C-4598-9DB1-778FE3877DE7}" dt="2022-02-14T08:52:01.971" v="1206"/>
          <ac:spMkLst>
            <pc:docMk/>
            <pc:sldMk cId="3831261343" sldId="588"/>
            <ac:spMk id="2" creationId="{AFA186E7-342C-499B-8453-9DD1AB1CA7F2}"/>
          </ac:spMkLst>
        </pc:spChg>
        <pc:spChg chg="del">
          <ac:chgData name="Thomas Stensitzki" userId="75cafe6b-2f2a-469b-85c4-eec3b9c972ba" providerId="ADAL" clId="{732483C3-CB0C-4598-9DB1-778FE3877DE7}" dt="2022-02-14T08:52:45.479" v="1209" actId="478"/>
          <ac:spMkLst>
            <pc:docMk/>
            <pc:sldMk cId="3831261343" sldId="588"/>
            <ac:spMk id="3" creationId="{7CD1371E-9B9E-43E9-8A5C-BF619989D07A}"/>
          </ac:spMkLst>
        </pc:spChg>
        <pc:picChg chg="add mod">
          <ac:chgData name="Thomas Stensitzki" userId="75cafe6b-2f2a-469b-85c4-eec3b9c972ba" providerId="ADAL" clId="{732483C3-CB0C-4598-9DB1-778FE3877DE7}" dt="2022-02-14T08:53:04.155" v="1213" actId="1440"/>
          <ac:picMkLst>
            <pc:docMk/>
            <pc:sldMk cId="3831261343" sldId="588"/>
            <ac:picMk id="4098" creationId="{A56F61E1-0F52-421E-822A-077CF6137CD6}"/>
          </ac:picMkLst>
        </pc:picChg>
      </pc:sldChg>
      <pc:sldChg chg="del">
        <pc:chgData name="Thomas Stensitzki" userId="75cafe6b-2f2a-469b-85c4-eec3b9c972ba" providerId="ADAL" clId="{732483C3-CB0C-4598-9DB1-778FE3877DE7}" dt="2022-02-13T12:29:09.990" v="73" actId="47"/>
        <pc:sldMkLst>
          <pc:docMk/>
          <pc:sldMk cId="1790374027" sldId="589"/>
        </pc:sldMkLst>
      </pc:sldChg>
      <pc:sldChg chg="addSp delSp modSp add modTransition">
        <pc:chgData name="Thomas Stensitzki" userId="75cafe6b-2f2a-469b-85c4-eec3b9c972ba" providerId="ADAL" clId="{732483C3-CB0C-4598-9DB1-778FE3877DE7}" dt="2022-02-16T13:35:41.009" v="1677"/>
        <pc:sldMkLst>
          <pc:docMk/>
          <pc:sldMk cId="3795303455" sldId="589"/>
        </pc:sldMkLst>
        <pc:picChg chg="del">
          <ac:chgData name="Thomas Stensitzki" userId="75cafe6b-2f2a-469b-85c4-eec3b9c972ba" providerId="ADAL" clId="{732483C3-CB0C-4598-9DB1-778FE3877DE7}" dt="2022-02-14T08:53:49.819" v="1221" actId="478"/>
          <ac:picMkLst>
            <pc:docMk/>
            <pc:sldMk cId="3795303455" sldId="589"/>
            <ac:picMk id="4098" creationId="{A56F61E1-0F52-421E-822A-077CF6137CD6}"/>
          </ac:picMkLst>
        </pc:picChg>
        <pc:picChg chg="add mod">
          <ac:chgData name="Thomas Stensitzki" userId="75cafe6b-2f2a-469b-85c4-eec3b9c972ba" providerId="ADAL" clId="{732483C3-CB0C-4598-9DB1-778FE3877DE7}" dt="2022-02-14T08:53:48.198" v="1220" actId="167"/>
          <ac:picMkLst>
            <pc:docMk/>
            <pc:sldMk cId="3795303455" sldId="589"/>
            <ac:picMk id="5122" creationId="{02D9EB72-CBDA-4744-ADBB-77E709AAC7CB}"/>
          </ac:picMkLst>
        </pc:picChg>
      </pc:sldChg>
      <pc:sldChg chg="del">
        <pc:chgData name="Thomas Stensitzki" userId="75cafe6b-2f2a-469b-85c4-eec3b9c972ba" providerId="ADAL" clId="{732483C3-CB0C-4598-9DB1-778FE3877DE7}" dt="2022-02-13T12:29:09.990" v="73" actId="47"/>
        <pc:sldMkLst>
          <pc:docMk/>
          <pc:sldMk cId="918908708" sldId="590"/>
        </pc:sldMkLst>
      </pc:sldChg>
      <pc:sldChg chg="addSp delSp modSp add modTransition modNotesTx">
        <pc:chgData name="Thomas Stensitzki" userId="75cafe6b-2f2a-469b-85c4-eec3b9c972ba" providerId="ADAL" clId="{732483C3-CB0C-4598-9DB1-778FE3877DE7}" dt="2022-02-16T13:35:41.009" v="1677"/>
        <pc:sldMkLst>
          <pc:docMk/>
          <pc:sldMk cId="3073320387" sldId="590"/>
        </pc:sldMkLst>
        <pc:picChg chg="add del">
          <ac:chgData name="Thomas Stensitzki" userId="75cafe6b-2f2a-469b-85c4-eec3b9c972ba" providerId="ADAL" clId="{732483C3-CB0C-4598-9DB1-778FE3877DE7}" dt="2022-02-14T08:54:42.380" v="1234" actId="478"/>
          <ac:picMkLst>
            <pc:docMk/>
            <pc:sldMk cId="3073320387" sldId="590"/>
            <ac:picMk id="5122" creationId="{02D9EB72-CBDA-4744-ADBB-77E709AAC7CB}"/>
          </ac:picMkLst>
        </pc:picChg>
        <pc:picChg chg="add del mod">
          <ac:chgData name="Thomas Stensitzki" userId="75cafe6b-2f2a-469b-85c4-eec3b9c972ba" providerId="ADAL" clId="{732483C3-CB0C-4598-9DB1-778FE3877DE7}" dt="2022-02-14T08:54:38.423" v="1233" actId="478"/>
          <ac:picMkLst>
            <pc:docMk/>
            <pc:sldMk cId="3073320387" sldId="590"/>
            <ac:picMk id="6146" creationId="{7DA09ABE-1DAB-4892-98B2-DA9E7FCC8947}"/>
          </ac:picMkLst>
        </pc:picChg>
      </pc:sldChg>
      <pc:sldChg chg="del">
        <pc:chgData name="Thomas Stensitzki" userId="75cafe6b-2f2a-469b-85c4-eec3b9c972ba" providerId="ADAL" clId="{732483C3-CB0C-4598-9DB1-778FE3877DE7}" dt="2022-02-13T12:29:09.990" v="73" actId="47"/>
        <pc:sldMkLst>
          <pc:docMk/>
          <pc:sldMk cId="454032179" sldId="591"/>
        </pc:sldMkLst>
      </pc:sldChg>
      <pc:sldChg chg="modSp add mod ord modTransition">
        <pc:chgData name="Thomas Stensitzki" userId="75cafe6b-2f2a-469b-85c4-eec3b9c972ba" providerId="ADAL" clId="{732483C3-CB0C-4598-9DB1-778FE3877DE7}" dt="2022-02-16T13:35:41.009" v="1677"/>
        <pc:sldMkLst>
          <pc:docMk/>
          <pc:sldMk cId="3676688735" sldId="591"/>
        </pc:sldMkLst>
        <pc:spChg chg="mod">
          <ac:chgData name="Thomas Stensitzki" userId="75cafe6b-2f2a-469b-85c4-eec3b9c972ba" providerId="ADAL" clId="{732483C3-CB0C-4598-9DB1-778FE3877DE7}" dt="2022-02-14T11:34:35.895" v="1298" actId="1036"/>
          <ac:spMkLst>
            <pc:docMk/>
            <pc:sldMk cId="3676688735" sldId="591"/>
            <ac:spMk id="2" creationId="{909DC09D-B9A6-4493-9A72-1CA7ECB1F5CA}"/>
          </ac:spMkLst>
        </pc:spChg>
      </pc:sldChg>
      <pc:sldChg chg="del">
        <pc:chgData name="Thomas Stensitzki" userId="75cafe6b-2f2a-469b-85c4-eec3b9c972ba" providerId="ADAL" clId="{732483C3-CB0C-4598-9DB1-778FE3877DE7}" dt="2022-02-13T12:29:09.990" v="73" actId="47"/>
        <pc:sldMkLst>
          <pc:docMk/>
          <pc:sldMk cId="999287501" sldId="592"/>
        </pc:sldMkLst>
      </pc:sldChg>
      <pc:sldChg chg="modSp add mod ord modTransition">
        <pc:chgData name="Thomas Stensitzki" userId="75cafe6b-2f2a-469b-85c4-eec3b9c972ba" providerId="ADAL" clId="{732483C3-CB0C-4598-9DB1-778FE3877DE7}" dt="2022-02-16T13:35:41.009" v="1677"/>
        <pc:sldMkLst>
          <pc:docMk/>
          <pc:sldMk cId="3760764139" sldId="592"/>
        </pc:sldMkLst>
        <pc:spChg chg="mod">
          <ac:chgData name="Thomas Stensitzki" userId="75cafe6b-2f2a-469b-85c4-eec3b9c972ba" providerId="ADAL" clId="{732483C3-CB0C-4598-9DB1-778FE3877DE7}" dt="2022-02-14T11:34:50.597" v="1329" actId="1036"/>
          <ac:spMkLst>
            <pc:docMk/>
            <pc:sldMk cId="3760764139" sldId="592"/>
            <ac:spMk id="2" creationId="{909DC09D-B9A6-4493-9A72-1CA7ECB1F5CA}"/>
          </ac:spMkLst>
        </pc:spChg>
      </pc:sldChg>
      <pc:sldChg chg="del">
        <pc:chgData name="Thomas Stensitzki" userId="75cafe6b-2f2a-469b-85c4-eec3b9c972ba" providerId="ADAL" clId="{732483C3-CB0C-4598-9DB1-778FE3877DE7}" dt="2022-02-13T12:29:09.990" v="73" actId="47"/>
        <pc:sldMkLst>
          <pc:docMk/>
          <pc:sldMk cId="216933282" sldId="593"/>
        </pc:sldMkLst>
      </pc:sldChg>
      <pc:sldChg chg="modSp add mod modTransition">
        <pc:chgData name="Thomas Stensitzki" userId="75cafe6b-2f2a-469b-85c4-eec3b9c972ba" providerId="ADAL" clId="{732483C3-CB0C-4598-9DB1-778FE3877DE7}" dt="2022-02-16T13:35:41.009" v="1677"/>
        <pc:sldMkLst>
          <pc:docMk/>
          <pc:sldMk cId="1160737551" sldId="593"/>
        </pc:sldMkLst>
        <pc:spChg chg="mod">
          <ac:chgData name="Thomas Stensitzki" userId="75cafe6b-2f2a-469b-85c4-eec3b9c972ba" providerId="ADAL" clId="{732483C3-CB0C-4598-9DB1-778FE3877DE7}" dt="2022-02-14T11:35:06.916" v="1387" actId="1036"/>
          <ac:spMkLst>
            <pc:docMk/>
            <pc:sldMk cId="1160737551" sldId="593"/>
            <ac:spMk id="2" creationId="{909DC09D-B9A6-4493-9A72-1CA7ECB1F5CA}"/>
          </ac:spMkLst>
        </pc:spChg>
      </pc:sldChg>
      <pc:sldChg chg="del">
        <pc:chgData name="Thomas Stensitzki" userId="75cafe6b-2f2a-469b-85c4-eec3b9c972ba" providerId="ADAL" clId="{732483C3-CB0C-4598-9DB1-778FE3877DE7}" dt="2022-02-13T12:29:09.990" v="73" actId="47"/>
        <pc:sldMkLst>
          <pc:docMk/>
          <pc:sldMk cId="1858708233" sldId="594"/>
        </pc:sldMkLst>
      </pc:sldChg>
      <pc:sldChg chg="modSp add mod ord modTransition">
        <pc:chgData name="Thomas Stensitzki" userId="75cafe6b-2f2a-469b-85c4-eec3b9c972ba" providerId="ADAL" clId="{732483C3-CB0C-4598-9DB1-778FE3877DE7}" dt="2022-02-16T13:35:41.009" v="1677"/>
        <pc:sldMkLst>
          <pc:docMk/>
          <pc:sldMk cId="3620025916" sldId="594"/>
        </pc:sldMkLst>
        <pc:spChg chg="mod">
          <ac:chgData name="Thomas Stensitzki" userId="75cafe6b-2f2a-469b-85c4-eec3b9c972ba" providerId="ADAL" clId="{732483C3-CB0C-4598-9DB1-778FE3877DE7}" dt="2022-02-14T11:35:50.809" v="1434" actId="14100"/>
          <ac:spMkLst>
            <pc:docMk/>
            <pc:sldMk cId="3620025916" sldId="594"/>
            <ac:spMk id="2" creationId="{909DC09D-B9A6-4493-9A72-1CA7ECB1F5CA}"/>
          </ac:spMkLst>
        </pc:spChg>
      </pc:sldChg>
      <pc:sldChg chg="modSp add mod ord modTransition">
        <pc:chgData name="Thomas Stensitzki" userId="75cafe6b-2f2a-469b-85c4-eec3b9c972ba" providerId="ADAL" clId="{732483C3-CB0C-4598-9DB1-778FE3877DE7}" dt="2022-02-16T13:35:41.009" v="1677"/>
        <pc:sldMkLst>
          <pc:docMk/>
          <pc:sldMk cId="2243482533" sldId="595"/>
        </pc:sldMkLst>
        <pc:spChg chg="mod">
          <ac:chgData name="Thomas Stensitzki" userId="75cafe6b-2f2a-469b-85c4-eec3b9c972ba" providerId="ADAL" clId="{732483C3-CB0C-4598-9DB1-778FE3877DE7}" dt="2022-02-14T11:36:22.623" v="1511" actId="1035"/>
          <ac:spMkLst>
            <pc:docMk/>
            <pc:sldMk cId="2243482533" sldId="595"/>
            <ac:spMk id="2" creationId="{909DC09D-B9A6-4493-9A72-1CA7ECB1F5CA}"/>
          </ac:spMkLst>
        </pc:spChg>
      </pc:sldChg>
      <pc:sldChg chg="del">
        <pc:chgData name="Thomas Stensitzki" userId="75cafe6b-2f2a-469b-85c4-eec3b9c972ba" providerId="ADAL" clId="{732483C3-CB0C-4598-9DB1-778FE3877DE7}" dt="2022-02-13T12:29:09.990" v="73" actId="47"/>
        <pc:sldMkLst>
          <pc:docMk/>
          <pc:sldMk cId="3220276594" sldId="595"/>
        </pc:sldMkLst>
      </pc:sldChg>
      <pc:sldChg chg="del">
        <pc:chgData name="Thomas Stensitzki" userId="75cafe6b-2f2a-469b-85c4-eec3b9c972ba" providerId="ADAL" clId="{732483C3-CB0C-4598-9DB1-778FE3877DE7}" dt="2022-02-13T12:29:09.990" v="73" actId="47"/>
        <pc:sldMkLst>
          <pc:docMk/>
          <pc:sldMk cId="1052203246" sldId="596"/>
        </pc:sldMkLst>
      </pc:sldChg>
      <pc:sldChg chg="add del">
        <pc:chgData name="Thomas Stensitzki" userId="75cafe6b-2f2a-469b-85c4-eec3b9c972ba" providerId="ADAL" clId="{732483C3-CB0C-4598-9DB1-778FE3877DE7}" dt="2022-02-14T11:36:33.085" v="1513"/>
        <pc:sldMkLst>
          <pc:docMk/>
          <pc:sldMk cId="1369410492" sldId="596"/>
        </pc:sldMkLst>
      </pc:sldChg>
      <pc:sldChg chg="modSp add mod modTransition">
        <pc:chgData name="Thomas Stensitzki" userId="75cafe6b-2f2a-469b-85c4-eec3b9c972ba" providerId="ADAL" clId="{732483C3-CB0C-4598-9DB1-778FE3877DE7}" dt="2022-02-16T13:35:41.009" v="1677"/>
        <pc:sldMkLst>
          <pc:docMk/>
          <pc:sldMk cId="3273231213" sldId="596"/>
        </pc:sldMkLst>
        <pc:spChg chg="mod">
          <ac:chgData name="Thomas Stensitzki" userId="75cafe6b-2f2a-469b-85c4-eec3b9c972ba" providerId="ADAL" clId="{732483C3-CB0C-4598-9DB1-778FE3877DE7}" dt="2022-02-14T11:36:49.142" v="1557" actId="1035"/>
          <ac:spMkLst>
            <pc:docMk/>
            <pc:sldMk cId="3273231213" sldId="596"/>
            <ac:spMk id="2" creationId="{909DC09D-B9A6-4493-9A72-1CA7ECB1F5CA}"/>
          </ac:spMkLst>
        </pc:spChg>
      </pc:sldChg>
      <pc:sldChg chg="del">
        <pc:chgData name="Thomas Stensitzki" userId="75cafe6b-2f2a-469b-85c4-eec3b9c972ba" providerId="ADAL" clId="{732483C3-CB0C-4598-9DB1-778FE3877DE7}" dt="2022-02-13T12:29:09.990" v="73" actId="47"/>
        <pc:sldMkLst>
          <pc:docMk/>
          <pc:sldMk cId="3073976506" sldId="597"/>
        </pc:sldMkLst>
      </pc:sldChg>
      <pc:sldChg chg="modSp add mod modTransition">
        <pc:chgData name="Thomas Stensitzki" userId="75cafe6b-2f2a-469b-85c4-eec3b9c972ba" providerId="ADAL" clId="{732483C3-CB0C-4598-9DB1-778FE3877DE7}" dt="2022-02-16T13:35:41.009" v="1677"/>
        <pc:sldMkLst>
          <pc:docMk/>
          <pc:sldMk cId="3646966063" sldId="597"/>
        </pc:sldMkLst>
        <pc:spChg chg="mod">
          <ac:chgData name="Thomas Stensitzki" userId="75cafe6b-2f2a-469b-85c4-eec3b9c972ba" providerId="ADAL" clId="{732483C3-CB0C-4598-9DB1-778FE3877DE7}" dt="2022-02-14T11:37:06.350" v="1587" actId="1036"/>
          <ac:spMkLst>
            <pc:docMk/>
            <pc:sldMk cId="3646966063" sldId="597"/>
            <ac:spMk id="2" creationId="{909DC09D-B9A6-4493-9A72-1CA7ECB1F5CA}"/>
          </ac:spMkLst>
        </pc:spChg>
      </pc:sldChg>
      <pc:sldChg chg="del">
        <pc:chgData name="Thomas Stensitzki" userId="75cafe6b-2f2a-469b-85c4-eec3b9c972ba" providerId="ADAL" clId="{732483C3-CB0C-4598-9DB1-778FE3877DE7}" dt="2022-02-13T12:29:17.530" v="74" actId="47"/>
        <pc:sldMkLst>
          <pc:docMk/>
          <pc:sldMk cId="1359738840" sldId="598"/>
        </pc:sldMkLst>
      </pc:sldChg>
      <pc:sldChg chg="modSp add mod ord modTransition">
        <pc:chgData name="Thomas Stensitzki" userId="75cafe6b-2f2a-469b-85c4-eec3b9c972ba" providerId="ADAL" clId="{732483C3-CB0C-4598-9DB1-778FE3877DE7}" dt="2022-02-16T13:35:41.009" v="1677"/>
        <pc:sldMkLst>
          <pc:docMk/>
          <pc:sldMk cId="2538300061" sldId="598"/>
        </pc:sldMkLst>
        <pc:spChg chg="mod">
          <ac:chgData name="Thomas Stensitzki" userId="75cafe6b-2f2a-469b-85c4-eec3b9c972ba" providerId="ADAL" clId="{732483C3-CB0C-4598-9DB1-778FE3877DE7}" dt="2022-02-14T11:37:21.695" v="1596" actId="1035"/>
          <ac:spMkLst>
            <pc:docMk/>
            <pc:sldMk cId="2538300061" sldId="598"/>
            <ac:spMk id="2" creationId="{909DC09D-B9A6-4493-9A72-1CA7ECB1F5CA}"/>
          </ac:spMkLst>
        </pc:spChg>
      </pc:sldChg>
      <pc:sldChg chg="del">
        <pc:chgData name="Thomas Stensitzki" userId="75cafe6b-2f2a-469b-85c4-eec3b9c972ba" providerId="ADAL" clId="{732483C3-CB0C-4598-9DB1-778FE3877DE7}" dt="2022-02-13T12:29:17.530" v="74" actId="47"/>
        <pc:sldMkLst>
          <pc:docMk/>
          <pc:sldMk cId="497042959" sldId="599"/>
        </pc:sldMkLst>
      </pc:sldChg>
      <pc:sldChg chg="modSp add mod ord">
        <pc:chgData name="Thomas Stensitzki" userId="75cafe6b-2f2a-469b-85c4-eec3b9c972ba" providerId="ADAL" clId="{732483C3-CB0C-4598-9DB1-778FE3877DE7}" dt="2022-02-16T13:43:10.358" v="1825" actId="1076"/>
        <pc:sldMkLst>
          <pc:docMk/>
          <pc:sldMk cId="2905309205" sldId="599"/>
        </pc:sldMkLst>
        <pc:spChg chg="mod">
          <ac:chgData name="Thomas Stensitzki" userId="75cafe6b-2f2a-469b-85c4-eec3b9c972ba" providerId="ADAL" clId="{732483C3-CB0C-4598-9DB1-778FE3877DE7}" dt="2022-02-16T13:43:10.358" v="1825" actId="1076"/>
          <ac:spMkLst>
            <pc:docMk/>
            <pc:sldMk cId="2905309205" sldId="599"/>
            <ac:spMk id="2" creationId="{909DC09D-B9A6-4493-9A72-1CA7ECB1F5CA}"/>
          </ac:spMkLst>
        </pc:spChg>
      </pc:sldChg>
      <pc:sldChg chg="modSp add mod ord">
        <pc:chgData name="Thomas Stensitzki" userId="75cafe6b-2f2a-469b-85c4-eec3b9c972ba" providerId="ADAL" clId="{732483C3-CB0C-4598-9DB1-778FE3877DE7}" dt="2022-02-16T13:45:36.823" v="1833" actId="1076"/>
        <pc:sldMkLst>
          <pc:docMk/>
          <pc:sldMk cId="2549681173" sldId="600"/>
        </pc:sldMkLst>
        <pc:spChg chg="mod">
          <ac:chgData name="Thomas Stensitzki" userId="75cafe6b-2f2a-469b-85c4-eec3b9c972ba" providerId="ADAL" clId="{732483C3-CB0C-4598-9DB1-778FE3877DE7}" dt="2022-02-16T13:45:36.823" v="1833" actId="1076"/>
          <ac:spMkLst>
            <pc:docMk/>
            <pc:sldMk cId="2549681173" sldId="600"/>
            <ac:spMk id="2" creationId="{909DC09D-B9A6-4493-9A72-1CA7ECB1F5CA}"/>
          </ac:spMkLst>
        </pc:spChg>
      </pc:sldChg>
      <pc:sldChg chg="add del">
        <pc:chgData name="Thomas Stensitzki" userId="75cafe6b-2f2a-469b-85c4-eec3b9c972ba" providerId="ADAL" clId="{732483C3-CB0C-4598-9DB1-778FE3877DE7}" dt="2022-02-13T12:29:48.194" v="77" actId="47"/>
        <pc:sldMkLst>
          <pc:docMk/>
          <pc:sldMk cId="3647128677" sldId="600"/>
        </pc:sldMkLst>
      </pc:sldChg>
      <pc:sldChg chg="delSp modSp add">
        <pc:chgData name="Thomas Stensitzki" userId="75cafe6b-2f2a-469b-85c4-eec3b9c972ba" providerId="ADAL" clId="{732483C3-CB0C-4598-9DB1-778FE3877DE7}" dt="2022-02-16T13:46:44.696" v="1839" actId="1076"/>
        <pc:sldMkLst>
          <pc:docMk/>
          <pc:sldMk cId="1353242244" sldId="601"/>
        </pc:sldMkLst>
        <pc:picChg chg="del">
          <ac:chgData name="Thomas Stensitzki" userId="75cafe6b-2f2a-469b-85c4-eec3b9c972ba" providerId="ADAL" clId="{732483C3-CB0C-4598-9DB1-778FE3877DE7}" dt="2022-02-16T13:46:33.100" v="1838" actId="478"/>
          <ac:picMkLst>
            <pc:docMk/>
            <pc:sldMk cId="1353242244" sldId="601"/>
            <ac:picMk id="8194" creationId="{AFD980FE-4282-4263-AD1E-4D6DAC9F98E5}"/>
          </ac:picMkLst>
        </pc:picChg>
        <pc:picChg chg="mod">
          <ac:chgData name="Thomas Stensitzki" userId="75cafe6b-2f2a-469b-85c4-eec3b9c972ba" providerId="ADAL" clId="{732483C3-CB0C-4598-9DB1-778FE3877DE7}" dt="2022-02-16T13:46:44.696" v="1839" actId="1076"/>
          <ac:picMkLst>
            <pc:docMk/>
            <pc:sldMk cId="1353242244" sldId="601"/>
            <ac:picMk id="8196" creationId="{1A602696-D323-49FA-84C8-07E65F6E0E5C}"/>
          </ac:picMkLst>
        </pc:picChg>
      </pc:sldChg>
      <pc:sldChg chg="add del">
        <pc:chgData name="Thomas Stensitzki" userId="75cafe6b-2f2a-469b-85c4-eec3b9c972ba" providerId="ADAL" clId="{732483C3-CB0C-4598-9DB1-778FE3877DE7}" dt="2022-02-13T12:29:48.194" v="77" actId="47"/>
        <pc:sldMkLst>
          <pc:docMk/>
          <pc:sldMk cId="2742369230" sldId="601"/>
        </pc:sldMkLst>
      </pc:sldChg>
      <pc:sldChg chg="add del">
        <pc:chgData name="Thomas Stensitzki" userId="75cafe6b-2f2a-469b-85c4-eec3b9c972ba" providerId="ADAL" clId="{732483C3-CB0C-4598-9DB1-778FE3877DE7}" dt="2022-02-13T12:29:48.194" v="77" actId="47"/>
        <pc:sldMkLst>
          <pc:docMk/>
          <pc:sldMk cId="525318874" sldId="602"/>
        </pc:sldMkLst>
      </pc:sldChg>
      <pc:sldChg chg="modSp add mod ord">
        <pc:chgData name="Thomas Stensitzki" userId="75cafe6b-2f2a-469b-85c4-eec3b9c972ba" providerId="ADAL" clId="{732483C3-CB0C-4598-9DB1-778FE3877DE7}" dt="2022-02-16T13:47:16.871" v="1843" actId="1076"/>
        <pc:sldMkLst>
          <pc:docMk/>
          <pc:sldMk cId="1032519195" sldId="602"/>
        </pc:sldMkLst>
        <pc:spChg chg="mod">
          <ac:chgData name="Thomas Stensitzki" userId="75cafe6b-2f2a-469b-85c4-eec3b9c972ba" providerId="ADAL" clId="{732483C3-CB0C-4598-9DB1-778FE3877DE7}" dt="2022-02-16T13:47:16.871" v="1843" actId="1076"/>
          <ac:spMkLst>
            <pc:docMk/>
            <pc:sldMk cId="1032519195" sldId="602"/>
            <ac:spMk id="2" creationId="{909DC09D-B9A6-4493-9A72-1CA7ECB1F5CA}"/>
          </ac:spMkLst>
        </pc:spChg>
      </pc:sldChg>
      <pc:sldChg chg="modSp add mod ord">
        <pc:chgData name="Thomas Stensitzki" userId="75cafe6b-2f2a-469b-85c4-eec3b9c972ba" providerId="ADAL" clId="{732483C3-CB0C-4598-9DB1-778FE3877DE7}" dt="2022-02-16T13:47:31.127" v="1847" actId="1076"/>
        <pc:sldMkLst>
          <pc:docMk/>
          <pc:sldMk cId="167954962" sldId="603"/>
        </pc:sldMkLst>
        <pc:spChg chg="mod">
          <ac:chgData name="Thomas Stensitzki" userId="75cafe6b-2f2a-469b-85c4-eec3b9c972ba" providerId="ADAL" clId="{732483C3-CB0C-4598-9DB1-778FE3877DE7}" dt="2022-02-16T13:47:31.127" v="1847" actId="1076"/>
          <ac:spMkLst>
            <pc:docMk/>
            <pc:sldMk cId="167954962" sldId="603"/>
            <ac:spMk id="2" creationId="{909DC09D-B9A6-4493-9A72-1CA7ECB1F5CA}"/>
          </ac:spMkLst>
        </pc:spChg>
      </pc:sldChg>
      <pc:sldChg chg="add del">
        <pc:chgData name="Thomas Stensitzki" userId="75cafe6b-2f2a-469b-85c4-eec3b9c972ba" providerId="ADAL" clId="{732483C3-CB0C-4598-9DB1-778FE3877DE7}" dt="2022-02-13T12:29:48.194" v="77" actId="47"/>
        <pc:sldMkLst>
          <pc:docMk/>
          <pc:sldMk cId="4145302730" sldId="603"/>
        </pc:sldMkLst>
      </pc:sldChg>
      <pc:sldChg chg="add del">
        <pc:chgData name="Thomas Stensitzki" userId="75cafe6b-2f2a-469b-85c4-eec3b9c972ba" providerId="ADAL" clId="{732483C3-CB0C-4598-9DB1-778FE3877DE7}" dt="2022-02-13T12:29:48.194" v="77" actId="47"/>
        <pc:sldMkLst>
          <pc:docMk/>
          <pc:sldMk cId="166632333" sldId="604"/>
        </pc:sldMkLst>
      </pc:sldChg>
      <pc:sldChg chg="modSp add mod ord modNotesTx">
        <pc:chgData name="Thomas Stensitzki" userId="75cafe6b-2f2a-469b-85c4-eec3b9c972ba" providerId="ADAL" clId="{732483C3-CB0C-4598-9DB1-778FE3877DE7}" dt="2022-02-16T13:52:44.405" v="1894" actId="6549"/>
        <pc:sldMkLst>
          <pc:docMk/>
          <pc:sldMk cId="1319860976" sldId="604"/>
        </pc:sldMkLst>
        <pc:spChg chg="mod">
          <ac:chgData name="Thomas Stensitzki" userId="75cafe6b-2f2a-469b-85c4-eec3b9c972ba" providerId="ADAL" clId="{732483C3-CB0C-4598-9DB1-778FE3877DE7}" dt="2022-02-16T13:49:21.649" v="1861" actId="1076"/>
          <ac:spMkLst>
            <pc:docMk/>
            <pc:sldMk cId="1319860976" sldId="604"/>
            <ac:spMk id="2" creationId="{909DC09D-B9A6-4493-9A72-1CA7ECB1F5CA}"/>
          </ac:spMkLst>
        </pc:spChg>
      </pc:sldChg>
      <pc:sldChg chg="modSp add mod ord">
        <pc:chgData name="Thomas Stensitzki" userId="75cafe6b-2f2a-469b-85c4-eec3b9c972ba" providerId="ADAL" clId="{732483C3-CB0C-4598-9DB1-778FE3877DE7}" dt="2022-02-16T13:49:39.605" v="1865" actId="1076"/>
        <pc:sldMkLst>
          <pc:docMk/>
          <pc:sldMk cId="960196194" sldId="605"/>
        </pc:sldMkLst>
        <pc:spChg chg="mod">
          <ac:chgData name="Thomas Stensitzki" userId="75cafe6b-2f2a-469b-85c4-eec3b9c972ba" providerId="ADAL" clId="{732483C3-CB0C-4598-9DB1-778FE3877DE7}" dt="2022-02-16T13:49:39.605" v="1865" actId="1076"/>
          <ac:spMkLst>
            <pc:docMk/>
            <pc:sldMk cId="960196194" sldId="605"/>
            <ac:spMk id="2" creationId="{909DC09D-B9A6-4493-9A72-1CA7ECB1F5CA}"/>
          </ac:spMkLst>
        </pc:spChg>
      </pc:sldChg>
      <pc:sldChg chg="add del">
        <pc:chgData name="Thomas Stensitzki" userId="75cafe6b-2f2a-469b-85c4-eec3b9c972ba" providerId="ADAL" clId="{732483C3-CB0C-4598-9DB1-778FE3877DE7}" dt="2022-02-13T12:29:48.194" v="77" actId="47"/>
        <pc:sldMkLst>
          <pc:docMk/>
          <pc:sldMk cId="2150546359" sldId="605"/>
        </pc:sldMkLst>
      </pc:sldChg>
      <pc:sldChg chg="add del">
        <pc:chgData name="Thomas Stensitzki" userId="75cafe6b-2f2a-469b-85c4-eec3b9c972ba" providerId="ADAL" clId="{732483C3-CB0C-4598-9DB1-778FE3877DE7}" dt="2022-02-13T12:29:48.194" v="77" actId="47"/>
        <pc:sldMkLst>
          <pc:docMk/>
          <pc:sldMk cId="2386028982" sldId="606"/>
        </pc:sldMkLst>
      </pc:sldChg>
      <pc:sldChg chg="modSp add mod modNotesTx">
        <pc:chgData name="Thomas Stensitzki" userId="75cafe6b-2f2a-469b-85c4-eec3b9c972ba" providerId="ADAL" clId="{732483C3-CB0C-4598-9DB1-778FE3877DE7}" dt="2022-02-16T13:52:37.340" v="1893" actId="6549"/>
        <pc:sldMkLst>
          <pc:docMk/>
          <pc:sldMk cId="2615993417" sldId="606"/>
        </pc:sldMkLst>
        <pc:spChg chg="mod">
          <ac:chgData name="Thomas Stensitzki" userId="75cafe6b-2f2a-469b-85c4-eec3b9c972ba" providerId="ADAL" clId="{732483C3-CB0C-4598-9DB1-778FE3877DE7}" dt="2022-02-16T13:49:48.290" v="1867" actId="1076"/>
          <ac:spMkLst>
            <pc:docMk/>
            <pc:sldMk cId="2615993417" sldId="606"/>
            <ac:spMk id="2" creationId="{909DC09D-B9A6-4493-9A72-1CA7ECB1F5CA}"/>
          </ac:spMkLst>
        </pc:spChg>
      </pc:sldChg>
      <pc:sldChg chg="modSp add mod ord modNotesTx">
        <pc:chgData name="Thomas Stensitzki" userId="75cafe6b-2f2a-469b-85c4-eec3b9c972ba" providerId="ADAL" clId="{732483C3-CB0C-4598-9DB1-778FE3877DE7}" dt="2022-02-16T13:52:30.502" v="1892" actId="6549"/>
        <pc:sldMkLst>
          <pc:docMk/>
          <pc:sldMk cId="850732423" sldId="607"/>
        </pc:sldMkLst>
        <pc:spChg chg="mod">
          <ac:chgData name="Thomas Stensitzki" userId="75cafe6b-2f2a-469b-85c4-eec3b9c972ba" providerId="ADAL" clId="{732483C3-CB0C-4598-9DB1-778FE3877DE7}" dt="2022-02-16T13:50:05.937" v="1872" actId="14100"/>
          <ac:spMkLst>
            <pc:docMk/>
            <pc:sldMk cId="850732423" sldId="607"/>
            <ac:spMk id="2" creationId="{909DC09D-B9A6-4493-9A72-1CA7ECB1F5CA}"/>
          </ac:spMkLst>
        </pc:spChg>
      </pc:sldChg>
      <pc:sldChg chg="add del">
        <pc:chgData name="Thomas Stensitzki" userId="75cafe6b-2f2a-469b-85c4-eec3b9c972ba" providerId="ADAL" clId="{732483C3-CB0C-4598-9DB1-778FE3877DE7}" dt="2022-02-13T12:29:48.194" v="77" actId="47"/>
        <pc:sldMkLst>
          <pc:docMk/>
          <pc:sldMk cId="2597390730" sldId="607"/>
        </pc:sldMkLst>
      </pc:sldChg>
      <pc:sldChg chg="modSp add mod ord modNotesTx">
        <pc:chgData name="Thomas Stensitzki" userId="75cafe6b-2f2a-469b-85c4-eec3b9c972ba" providerId="ADAL" clId="{732483C3-CB0C-4598-9DB1-778FE3877DE7}" dt="2022-02-16T13:52:21.814" v="1890" actId="6549"/>
        <pc:sldMkLst>
          <pc:docMk/>
          <pc:sldMk cId="2141078485" sldId="608"/>
        </pc:sldMkLst>
        <pc:spChg chg="mod">
          <ac:chgData name="Thomas Stensitzki" userId="75cafe6b-2f2a-469b-85c4-eec3b9c972ba" providerId="ADAL" clId="{732483C3-CB0C-4598-9DB1-778FE3877DE7}" dt="2022-02-16T13:50:30.509" v="1878" actId="1076"/>
          <ac:spMkLst>
            <pc:docMk/>
            <pc:sldMk cId="2141078485" sldId="608"/>
            <ac:spMk id="2" creationId="{909DC09D-B9A6-4493-9A72-1CA7ECB1F5CA}"/>
          </ac:spMkLst>
        </pc:spChg>
      </pc:sldChg>
      <pc:sldChg chg="add del ord">
        <pc:chgData name="Thomas Stensitzki" userId="75cafe6b-2f2a-469b-85c4-eec3b9c972ba" providerId="ADAL" clId="{732483C3-CB0C-4598-9DB1-778FE3877DE7}" dt="2022-02-16T13:50:24.012" v="1876" actId="47"/>
        <pc:sldMkLst>
          <pc:docMk/>
          <pc:sldMk cId="3573072322" sldId="608"/>
        </pc:sldMkLst>
      </pc:sldChg>
      <pc:sldChg chg="modSp add mod modNotesTx">
        <pc:chgData name="Thomas Stensitzki" userId="75cafe6b-2f2a-469b-85c4-eec3b9c972ba" providerId="ADAL" clId="{732483C3-CB0C-4598-9DB1-778FE3877DE7}" dt="2022-02-16T13:52:16.543" v="1889" actId="6549"/>
        <pc:sldMkLst>
          <pc:docMk/>
          <pc:sldMk cId="2216310711" sldId="609"/>
        </pc:sldMkLst>
        <pc:spChg chg="mod">
          <ac:chgData name="Thomas Stensitzki" userId="75cafe6b-2f2a-469b-85c4-eec3b9c972ba" providerId="ADAL" clId="{732483C3-CB0C-4598-9DB1-778FE3877DE7}" dt="2022-02-16T13:51:18.467" v="1884" actId="14100"/>
          <ac:spMkLst>
            <pc:docMk/>
            <pc:sldMk cId="2216310711" sldId="609"/>
            <ac:spMk id="2" creationId="{909DC09D-B9A6-4493-9A72-1CA7ECB1F5CA}"/>
          </ac:spMkLst>
        </pc:spChg>
        <pc:spChg chg="mod">
          <ac:chgData name="Thomas Stensitzki" userId="75cafe6b-2f2a-469b-85c4-eec3b9c972ba" providerId="ADAL" clId="{732483C3-CB0C-4598-9DB1-778FE3877DE7}" dt="2022-02-16T13:51:26.012" v="1886" actId="20577"/>
          <ac:spMkLst>
            <pc:docMk/>
            <pc:sldMk cId="2216310711" sldId="609"/>
            <ac:spMk id="5" creationId="{C24DACB5-1BEC-4C86-9652-BAFD8DE56FEF}"/>
          </ac:spMkLst>
        </pc:spChg>
      </pc:sldChg>
      <pc:sldChg chg="modSp add mod">
        <pc:chgData name="Thomas Stensitzki" userId="75cafe6b-2f2a-469b-85c4-eec3b9c972ba" providerId="ADAL" clId="{732483C3-CB0C-4598-9DB1-778FE3877DE7}" dt="2022-02-16T13:53:05.745" v="1897" actId="1076"/>
        <pc:sldMkLst>
          <pc:docMk/>
          <pc:sldMk cId="52005476" sldId="610"/>
        </pc:sldMkLst>
        <pc:spChg chg="mod">
          <ac:chgData name="Thomas Stensitzki" userId="75cafe6b-2f2a-469b-85c4-eec3b9c972ba" providerId="ADAL" clId="{732483C3-CB0C-4598-9DB1-778FE3877DE7}" dt="2022-02-16T13:53:05.745" v="1897" actId="1076"/>
          <ac:spMkLst>
            <pc:docMk/>
            <pc:sldMk cId="52005476" sldId="610"/>
            <ac:spMk id="2" creationId="{909DC09D-B9A6-4493-9A72-1CA7ECB1F5CA}"/>
          </ac:spMkLst>
        </pc:spChg>
      </pc:sldChg>
      <pc:sldChg chg="modSp add mod">
        <pc:chgData name="Thomas Stensitzki" userId="75cafe6b-2f2a-469b-85c4-eec3b9c972ba" providerId="ADAL" clId="{732483C3-CB0C-4598-9DB1-778FE3877DE7}" dt="2022-02-16T13:53:21.334" v="1900" actId="14100"/>
        <pc:sldMkLst>
          <pc:docMk/>
          <pc:sldMk cId="724457052" sldId="611"/>
        </pc:sldMkLst>
        <pc:spChg chg="mod">
          <ac:chgData name="Thomas Stensitzki" userId="75cafe6b-2f2a-469b-85c4-eec3b9c972ba" providerId="ADAL" clId="{732483C3-CB0C-4598-9DB1-778FE3877DE7}" dt="2022-02-16T13:53:21.334" v="1900" actId="14100"/>
          <ac:spMkLst>
            <pc:docMk/>
            <pc:sldMk cId="724457052" sldId="611"/>
            <ac:spMk id="2" creationId="{909DC09D-B9A6-4493-9A72-1CA7ECB1F5CA}"/>
          </ac:spMkLst>
        </pc:spChg>
      </pc:sldChg>
      <pc:sldChg chg="modSp add mod ord">
        <pc:chgData name="Thomas Stensitzki" userId="75cafe6b-2f2a-469b-85c4-eec3b9c972ba" providerId="ADAL" clId="{732483C3-CB0C-4598-9DB1-778FE3877DE7}" dt="2022-02-16T13:53:40.903" v="1905" actId="14100"/>
        <pc:sldMkLst>
          <pc:docMk/>
          <pc:sldMk cId="1451652416" sldId="612"/>
        </pc:sldMkLst>
        <pc:spChg chg="mod">
          <ac:chgData name="Thomas Stensitzki" userId="75cafe6b-2f2a-469b-85c4-eec3b9c972ba" providerId="ADAL" clId="{732483C3-CB0C-4598-9DB1-778FE3877DE7}" dt="2022-02-16T13:53:40.903" v="1905" actId="14100"/>
          <ac:spMkLst>
            <pc:docMk/>
            <pc:sldMk cId="1451652416" sldId="612"/>
            <ac:spMk id="2" creationId="{909DC09D-B9A6-4493-9A72-1CA7ECB1F5CA}"/>
          </ac:spMkLst>
        </pc:spChg>
      </pc:sldChg>
      <pc:sldChg chg="modSp add mod ord">
        <pc:chgData name="Thomas Stensitzki" userId="75cafe6b-2f2a-469b-85c4-eec3b9c972ba" providerId="ADAL" clId="{732483C3-CB0C-4598-9DB1-778FE3877DE7}" dt="2022-02-16T13:54:02.279" v="1911" actId="1076"/>
        <pc:sldMkLst>
          <pc:docMk/>
          <pc:sldMk cId="1471743522" sldId="613"/>
        </pc:sldMkLst>
        <pc:spChg chg="mod">
          <ac:chgData name="Thomas Stensitzki" userId="75cafe6b-2f2a-469b-85c4-eec3b9c972ba" providerId="ADAL" clId="{732483C3-CB0C-4598-9DB1-778FE3877DE7}" dt="2022-02-16T13:54:02.279" v="1911" actId="1076"/>
          <ac:spMkLst>
            <pc:docMk/>
            <pc:sldMk cId="1471743522" sldId="613"/>
            <ac:spMk id="2" creationId="{909DC09D-B9A6-4493-9A72-1CA7ECB1F5CA}"/>
          </ac:spMkLst>
        </pc:spChg>
      </pc:sldChg>
    </pc:docChg>
  </pc:docChgLst>
  <pc:docChgLst>
    <pc:chgData name="colschewski@spirit21.com" userId="S::urn:spo:guest#colschewski@spirit21.com::" providerId="AD" clId="Web-{245D9126-0BA1-1582-AA06-BA43866B0985}"/>
    <pc:docChg chg="modSld">
      <pc:chgData name="colschewski@spirit21.com" userId="S::urn:spo:guest#colschewski@spirit21.com::" providerId="AD" clId="Web-{245D9126-0BA1-1582-AA06-BA43866B0985}" dt="2023-05-22T16:28:14.348" v="18" actId="14100"/>
      <pc:docMkLst>
        <pc:docMk/>
      </pc:docMkLst>
      <pc:sldChg chg="addSp delSp modSp">
        <pc:chgData name="colschewski@spirit21.com" userId="S::urn:spo:guest#colschewski@spirit21.com::" providerId="AD" clId="Web-{245D9126-0BA1-1582-AA06-BA43866B0985}" dt="2023-05-22T09:28:15.331" v="16" actId="1076"/>
        <pc:sldMkLst>
          <pc:docMk/>
          <pc:sldMk cId="1545829058" sldId="259"/>
        </pc:sldMkLst>
        <pc:picChg chg="add del mod">
          <ac:chgData name="colschewski@spirit21.com" userId="S::urn:spo:guest#colschewski@spirit21.com::" providerId="AD" clId="Web-{245D9126-0BA1-1582-AA06-BA43866B0985}" dt="2023-05-22T09:26:53.047" v="2"/>
          <ac:picMkLst>
            <pc:docMk/>
            <pc:sldMk cId="1545829058" sldId="259"/>
            <ac:picMk id="3" creationId="{31255597-D9E5-72FB-F601-FCE9A2CB3240}"/>
          </ac:picMkLst>
        </pc:picChg>
        <pc:picChg chg="add mod">
          <ac:chgData name="colschewski@spirit21.com" userId="S::urn:spo:guest#colschewski@spirit21.com::" providerId="AD" clId="Web-{245D9126-0BA1-1582-AA06-BA43866B0985}" dt="2023-05-22T09:28:15.331" v="16" actId="1076"/>
          <ac:picMkLst>
            <pc:docMk/>
            <pc:sldMk cId="1545829058" sldId="259"/>
            <ac:picMk id="4" creationId="{975DA8F4-571A-B180-DCD8-5F4B02C2D3D3}"/>
          </ac:picMkLst>
        </pc:picChg>
      </pc:sldChg>
      <pc:sldChg chg="addSp delSp modSp">
        <pc:chgData name="colschewski@spirit21.com" userId="S::urn:spo:guest#colschewski@spirit21.com::" providerId="AD" clId="Web-{245D9126-0BA1-1582-AA06-BA43866B0985}" dt="2023-05-22T09:27:21.032" v="9"/>
        <pc:sldMkLst>
          <pc:docMk/>
          <pc:sldMk cId="2553020497" sldId="660"/>
        </pc:sldMkLst>
        <pc:picChg chg="add del mod">
          <ac:chgData name="colschewski@spirit21.com" userId="S::urn:spo:guest#colschewski@spirit21.com::" providerId="AD" clId="Web-{245D9126-0BA1-1582-AA06-BA43866B0985}" dt="2023-05-22T09:27:21.032" v="9"/>
          <ac:picMkLst>
            <pc:docMk/>
            <pc:sldMk cId="2553020497" sldId="660"/>
            <ac:picMk id="3" creationId="{FA9042CB-4A0B-1292-E96E-4966FF110A79}"/>
          </ac:picMkLst>
        </pc:picChg>
      </pc:sldChg>
      <pc:sldChg chg="modSp">
        <pc:chgData name="colschewski@spirit21.com" userId="S::urn:spo:guest#colschewski@spirit21.com::" providerId="AD" clId="Web-{245D9126-0BA1-1582-AA06-BA43866B0985}" dt="2023-05-22T16:28:14.348" v="18" actId="14100"/>
        <pc:sldMkLst>
          <pc:docMk/>
          <pc:sldMk cId="3802477703" sldId="667"/>
        </pc:sldMkLst>
        <pc:picChg chg="mod">
          <ac:chgData name="colschewski@spirit21.com" userId="S::urn:spo:guest#colschewski@spirit21.com::" providerId="AD" clId="Web-{245D9126-0BA1-1582-AA06-BA43866B0985}" dt="2023-05-22T16:28:14.348" v="18" actId="14100"/>
          <ac:picMkLst>
            <pc:docMk/>
            <pc:sldMk cId="3802477703" sldId="667"/>
            <ac:picMk id="5" creationId="{59007772-8755-0B09-0B61-A2C5D858E370}"/>
          </ac:picMkLst>
        </pc:picChg>
      </pc:sldChg>
    </pc:docChg>
  </pc:docChgLst>
  <pc:docChgLst>
    <pc:chgData name="Thomas Stensitzki" userId="75cafe6b-2f2a-469b-85c4-eec3b9c972ba" providerId="ADAL" clId="{38265734-310D-45C8-99C3-9326DBD1A9F5}"/>
    <pc:docChg chg="undo custSel addSld delSld modSld modSection">
      <pc:chgData name="Thomas Stensitzki" userId="75cafe6b-2f2a-469b-85c4-eec3b9c972ba" providerId="ADAL" clId="{38265734-310D-45C8-99C3-9326DBD1A9F5}" dt="2023-07-08T10:54:33.915" v="1765" actId="6549"/>
      <pc:docMkLst>
        <pc:docMk/>
      </pc:docMkLst>
      <pc:sldChg chg="modSp mod modTransition">
        <pc:chgData name="Thomas Stensitzki" userId="75cafe6b-2f2a-469b-85c4-eec3b9c972ba" providerId="ADAL" clId="{38265734-310D-45C8-99C3-9326DBD1A9F5}" dt="2023-07-06T09:12:47.870" v="1675"/>
        <pc:sldMkLst>
          <pc:docMk/>
          <pc:sldMk cId="671489701" sldId="256"/>
        </pc:sldMkLst>
        <pc:spChg chg="mod">
          <ac:chgData name="Thomas Stensitzki" userId="75cafe6b-2f2a-469b-85c4-eec3b9c972ba" providerId="ADAL" clId="{38265734-310D-45C8-99C3-9326DBD1A9F5}" dt="2023-07-04T17:08:41.380" v="10" actId="6549"/>
          <ac:spMkLst>
            <pc:docMk/>
            <pc:sldMk cId="671489701" sldId="256"/>
            <ac:spMk id="3" creationId="{CBA95633-B02D-4A15-A8B1-A38E0A70FD27}"/>
          </ac:spMkLst>
        </pc:spChg>
      </pc:sldChg>
      <pc:sldChg chg="modSp mod modTransition">
        <pc:chgData name="Thomas Stensitzki" userId="75cafe6b-2f2a-469b-85c4-eec3b9c972ba" providerId="ADAL" clId="{38265734-310D-45C8-99C3-9326DBD1A9F5}" dt="2023-07-06T09:12:47.870" v="1675"/>
        <pc:sldMkLst>
          <pc:docMk/>
          <pc:sldMk cId="2855324227" sldId="257"/>
        </pc:sldMkLst>
        <pc:graphicFrameChg chg="mod modGraphic">
          <ac:chgData name="Thomas Stensitzki" userId="75cafe6b-2f2a-469b-85c4-eec3b9c972ba" providerId="ADAL" clId="{38265734-310D-45C8-99C3-9326DBD1A9F5}" dt="2023-07-04T17:09:44.498" v="30" actId="6549"/>
          <ac:graphicFrameMkLst>
            <pc:docMk/>
            <pc:sldMk cId="2855324227" sldId="257"/>
            <ac:graphicFrameMk id="6" creationId="{0F955DCC-462D-431D-BBDE-26F10687D590}"/>
          </ac:graphicFrameMkLst>
        </pc:graphicFrameChg>
      </pc:sldChg>
      <pc:sldChg chg="modSp mod modTransition">
        <pc:chgData name="Thomas Stensitzki" userId="75cafe6b-2f2a-469b-85c4-eec3b9c972ba" providerId="ADAL" clId="{38265734-310D-45C8-99C3-9326DBD1A9F5}" dt="2023-07-06T11:47:33.810" v="1762" actId="20577"/>
        <pc:sldMkLst>
          <pc:docMk/>
          <pc:sldMk cId="3332792154" sldId="258"/>
        </pc:sldMkLst>
        <pc:spChg chg="mod">
          <ac:chgData name="Thomas Stensitzki" userId="75cafe6b-2f2a-469b-85c4-eec3b9c972ba" providerId="ADAL" clId="{38265734-310D-45C8-99C3-9326DBD1A9F5}" dt="2023-07-06T11:47:33.810" v="1762" actId="20577"/>
          <ac:spMkLst>
            <pc:docMk/>
            <pc:sldMk cId="3332792154" sldId="258"/>
            <ac:spMk id="3" creationId="{3A5A44EB-7FB9-473A-8ED3-C49DDD2E65AB}"/>
          </ac:spMkLst>
        </pc:spChg>
      </pc:sldChg>
      <pc:sldChg chg="del">
        <pc:chgData name="Thomas Stensitzki" userId="75cafe6b-2f2a-469b-85c4-eec3b9c972ba" providerId="ADAL" clId="{38265734-310D-45C8-99C3-9326DBD1A9F5}" dt="2023-07-04T17:08:46.061" v="11" actId="47"/>
        <pc:sldMkLst>
          <pc:docMk/>
          <pc:sldMk cId="1545829058" sldId="259"/>
        </pc:sldMkLst>
      </pc:sldChg>
      <pc:sldChg chg="modSp mod modTransition">
        <pc:chgData name="Thomas Stensitzki" userId="75cafe6b-2f2a-469b-85c4-eec3b9c972ba" providerId="ADAL" clId="{38265734-310D-45C8-99C3-9326DBD1A9F5}" dt="2023-07-06T09:12:47.870" v="1675"/>
        <pc:sldMkLst>
          <pc:docMk/>
          <pc:sldMk cId="2698998357" sldId="260"/>
        </pc:sldMkLst>
        <pc:spChg chg="mod">
          <ac:chgData name="Thomas Stensitzki" userId="75cafe6b-2f2a-469b-85c4-eec3b9c972ba" providerId="ADAL" clId="{38265734-310D-45C8-99C3-9326DBD1A9F5}" dt="2023-07-04T17:09:58.627" v="33"/>
          <ac:spMkLst>
            <pc:docMk/>
            <pc:sldMk cId="2698998357" sldId="260"/>
            <ac:spMk id="4" creationId="{F3A15CBD-C746-44A3-A4F0-4898CE2F02E6}"/>
          </ac:spMkLst>
        </pc:spChg>
        <pc:spChg chg="mod">
          <ac:chgData name="Thomas Stensitzki" userId="75cafe6b-2f2a-469b-85c4-eec3b9c972ba" providerId="ADAL" clId="{38265734-310D-45C8-99C3-9326DBD1A9F5}" dt="2023-07-04T17:10:01.931" v="34" actId="20577"/>
          <ac:spMkLst>
            <pc:docMk/>
            <pc:sldMk cId="2698998357" sldId="260"/>
            <ac:spMk id="5" creationId="{F3459BE7-1731-4733-A912-12977C68CFD6}"/>
          </ac:spMkLst>
        </pc:spChg>
        <pc:picChg chg="mod">
          <ac:chgData name="Thomas Stensitzki" userId="75cafe6b-2f2a-469b-85c4-eec3b9c972ba" providerId="ADAL" clId="{38265734-310D-45C8-99C3-9326DBD1A9F5}" dt="2023-07-04T17:09:54.605" v="32" actId="1076"/>
          <ac:picMkLst>
            <pc:docMk/>
            <pc:sldMk cId="2698998357" sldId="260"/>
            <ac:picMk id="2" creationId="{2D4F20BA-957A-E4A8-5973-4395A784304B}"/>
          </ac:picMkLst>
        </pc:picChg>
      </pc:sldChg>
      <pc:sldChg chg="modSp mod modTransition">
        <pc:chgData name="Thomas Stensitzki" userId="75cafe6b-2f2a-469b-85c4-eec3b9c972ba" providerId="ADAL" clId="{38265734-310D-45C8-99C3-9326DBD1A9F5}" dt="2023-07-08T10:54:33.915" v="1765" actId="6549"/>
        <pc:sldMkLst>
          <pc:docMk/>
          <pc:sldMk cId="4007670073" sldId="268"/>
        </pc:sldMkLst>
        <pc:spChg chg="mod">
          <ac:chgData name="Thomas Stensitzki" userId="75cafe6b-2f2a-469b-85c4-eec3b9c972ba" providerId="ADAL" clId="{38265734-310D-45C8-99C3-9326DBD1A9F5}" dt="2023-07-08T10:54:33.915" v="1765" actId="6549"/>
          <ac:spMkLst>
            <pc:docMk/>
            <pc:sldMk cId="4007670073" sldId="268"/>
            <ac:spMk id="5" creationId="{F3459BE7-1731-4733-A912-12977C68CFD6}"/>
          </ac:spMkLst>
        </pc:spChg>
      </pc:sldChg>
      <pc:sldChg chg="modTransition">
        <pc:chgData name="Thomas Stensitzki" userId="75cafe6b-2f2a-469b-85c4-eec3b9c972ba" providerId="ADAL" clId="{38265734-310D-45C8-99C3-9326DBD1A9F5}" dt="2023-07-06T09:12:47.870" v="1675"/>
        <pc:sldMkLst>
          <pc:docMk/>
          <pc:sldMk cId="2721051844" sldId="269"/>
        </pc:sldMkLst>
      </pc:sldChg>
      <pc:sldChg chg="mod modTransition modShow">
        <pc:chgData name="Thomas Stensitzki" userId="75cafe6b-2f2a-469b-85c4-eec3b9c972ba" providerId="ADAL" clId="{38265734-310D-45C8-99C3-9326DBD1A9F5}" dt="2023-07-06T09:12:47.870" v="1675"/>
        <pc:sldMkLst>
          <pc:docMk/>
          <pc:sldMk cId="1928334901" sldId="295"/>
        </pc:sldMkLst>
      </pc:sldChg>
      <pc:sldChg chg="modTransition">
        <pc:chgData name="Thomas Stensitzki" userId="75cafe6b-2f2a-469b-85c4-eec3b9c972ba" providerId="ADAL" clId="{38265734-310D-45C8-99C3-9326DBD1A9F5}" dt="2023-07-06T09:12:47.870" v="1675"/>
        <pc:sldMkLst>
          <pc:docMk/>
          <pc:sldMk cId="2814967912" sldId="311"/>
        </pc:sldMkLst>
      </pc:sldChg>
      <pc:sldChg chg="modSp mod modTransition">
        <pc:chgData name="Thomas Stensitzki" userId="75cafe6b-2f2a-469b-85c4-eec3b9c972ba" providerId="ADAL" clId="{38265734-310D-45C8-99C3-9326DBD1A9F5}" dt="2023-07-06T09:12:47.870" v="1675"/>
        <pc:sldMkLst>
          <pc:docMk/>
          <pc:sldMk cId="2227487991" sldId="378"/>
        </pc:sldMkLst>
        <pc:spChg chg="mod">
          <ac:chgData name="Thomas Stensitzki" userId="75cafe6b-2f2a-469b-85c4-eec3b9c972ba" providerId="ADAL" clId="{38265734-310D-45C8-99C3-9326DBD1A9F5}" dt="2023-07-04T17:40:07.424" v="871"/>
          <ac:spMkLst>
            <pc:docMk/>
            <pc:sldMk cId="2227487991" sldId="378"/>
            <ac:spMk id="5" creationId="{C24DACB5-1BEC-4C86-9652-BAFD8DE56FEF}"/>
          </ac:spMkLst>
        </pc:spChg>
      </pc:sldChg>
      <pc:sldChg chg="modTransition">
        <pc:chgData name="Thomas Stensitzki" userId="75cafe6b-2f2a-469b-85c4-eec3b9c972ba" providerId="ADAL" clId="{38265734-310D-45C8-99C3-9326DBD1A9F5}" dt="2023-07-06T09:12:47.870" v="1675"/>
        <pc:sldMkLst>
          <pc:docMk/>
          <pc:sldMk cId="2923837414" sldId="513"/>
        </pc:sldMkLst>
      </pc:sldChg>
      <pc:sldChg chg="modTransition">
        <pc:chgData name="Thomas Stensitzki" userId="75cafe6b-2f2a-469b-85c4-eec3b9c972ba" providerId="ADAL" clId="{38265734-310D-45C8-99C3-9326DBD1A9F5}" dt="2023-07-06T09:12:47.870" v="1675"/>
        <pc:sldMkLst>
          <pc:docMk/>
          <pc:sldMk cId="2395924320" sldId="514"/>
        </pc:sldMkLst>
      </pc:sldChg>
      <pc:sldChg chg="modSp mod modTransition">
        <pc:chgData name="Thomas Stensitzki" userId="75cafe6b-2f2a-469b-85c4-eec3b9c972ba" providerId="ADAL" clId="{38265734-310D-45C8-99C3-9326DBD1A9F5}" dt="2023-07-06T09:12:47.870" v="1675"/>
        <pc:sldMkLst>
          <pc:docMk/>
          <pc:sldMk cId="3797754622" sldId="515"/>
        </pc:sldMkLst>
        <pc:spChg chg="mod">
          <ac:chgData name="Thomas Stensitzki" userId="75cafe6b-2f2a-469b-85c4-eec3b9c972ba" providerId="ADAL" clId="{38265734-310D-45C8-99C3-9326DBD1A9F5}" dt="2023-07-04T17:39:04.364" v="861"/>
          <ac:spMkLst>
            <pc:docMk/>
            <pc:sldMk cId="3797754622" sldId="515"/>
            <ac:spMk id="5" creationId="{C24DACB5-1BEC-4C86-9652-BAFD8DE56FEF}"/>
          </ac:spMkLst>
        </pc:spChg>
      </pc:sldChg>
      <pc:sldChg chg="mod modTransition modShow">
        <pc:chgData name="Thomas Stensitzki" userId="75cafe6b-2f2a-469b-85c4-eec3b9c972ba" providerId="ADAL" clId="{38265734-310D-45C8-99C3-9326DBD1A9F5}" dt="2023-07-06T11:47:43.961" v="1763" actId="729"/>
        <pc:sldMkLst>
          <pc:docMk/>
          <pc:sldMk cId="2791634409" sldId="560"/>
        </pc:sldMkLst>
      </pc:sldChg>
      <pc:sldChg chg="modTransition">
        <pc:chgData name="Thomas Stensitzki" userId="75cafe6b-2f2a-469b-85c4-eec3b9c972ba" providerId="ADAL" clId="{38265734-310D-45C8-99C3-9326DBD1A9F5}" dt="2023-07-06T09:12:47.870" v="1675"/>
        <pc:sldMkLst>
          <pc:docMk/>
          <pc:sldMk cId="1051205786" sldId="607"/>
        </pc:sldMkLst>
      </pc:sldChg>
      <pc:sldChg chg="modSp mod modTransition">
        <pc:chgData name="Thomas Stensitzki" userId="75cafe6b-2f2a-469b-85c4-eec3b9c972ba" providerId="ADAL" clId="{38265734-310D-45C8-99C3-9326DBD1A9F5}" dt="2023-07-06T09:12:47.870" v="1675"/>
        <pc:sldMkLst>
          <pc:docMk/>
          <pc:sldMk cId="1962477249" sldId="659"/>
        </pc:sldMkLst>
        <pc:spChg chg="mod">
          <ac:chgData name="Thomas Stensitzki" userId="75cafe6b-2f2a-469b-85c4-eec3b9c972ba" providerId="ADAL" clId="{38265734-310D-45C8-99C3-9326DBD1A9F5}" dt="2023-07-04T17:10:33.335" v="38" actId="6549"/>
          <ac:spMkLst>
            <pc:docMk/>
            <pc:sldMk cId="1962477249" sldId="659"/>
            <ac:spMk id="5" creationId="{F3459BE7-1731-4733-A912-12977C68CFD6}"/>
          </ac:spMkLst>
        </pc:spChg>
      </pc:sldChg>
      <pc:sldChg chg="modSp mod modTransition">
        <pc:chgData name="Thomas Stensitzki" userId="75cafe6b-2f2a-469b-85c4-eec3b9c972ba" providerId="ADAL" clId="{38265734-310D-45C8-99C3-9326DBD1A9F5}" dt="2023-07-06T09:12:47.870" v="1675"/>
        <pc:sldMkLst>
          <pc:docMk/>
          <pc:sldMk cId="4212332529" sldId="661"/>
        </pc:sldMkLst>
        <pc:spChg chg="mod">
          <ac:chgData name="Thomas Stensitzki" userId="75cafe6b-2f2a-469b-85c4-eec3b9c972ba" providerId="ADAL" clId="{38265734-310D-45C8-99C3-9326DBD1A9F5}" dt="2023-07-04T17:11:35.736" v="51" actId="20577"/>
          <ac:spMkLst>
            <pc:docMk/>
            <pc:sldMk cId="4212332529" sldId="661"/>
            <ac:spMk id="4" creationId="{F3A15CBD-C746-44A3-A4F0-4898CE2F02E6}"/>
          </ac:spMkLst>
        </pc:spChg>
        <pc:spChg chg="mod">
          <ac:chgData name="Thomas Stensitzki" userId="75cafe6b-2f2a-469b-85c4-eec3b9c972ba" providerId="ADAL" clId="{38265734-310D-45C8-99C3-9326DBD1A9F5}" dt="2023-07-04T17:11:38.527" v="52" actId="6549"/>
          <ac:spMkLst>
            <pc:docMk/>
            <pc:sldMk cId="4212332529" sldId="661"/>
            <ac:spMk id="5" creationId="{F3459BE7-1731-4733-A912-12977C68CFD6}"/>
          </ac:spMkLst>
        </pc:spChg>
      </pc:sldChg>
      <pc:sldChg chg="del">
        <pc:chgData name="Thomas Stensitzki" userId="75cafe6b-2f2a-469b-85c4-eec3b9c972ba" providerId="ADAL" clId="{38265734-310D-45C8-99C3-9326DBD1A9F5}" dt="2023-07-04T17:10:52.056" v="41" actId="47"/>
        <pc:sldMkLst>
          <pc:docMk/>
          <pc:sldMk cId="3400462124" sldId="662"/>
        </pc:sldMkLst>
      </pc:sldChg>
      <pc:sldChg chg="del">
        <pc:chgData name="Thomas Stensitzki" userId="75cafe6b-2f2a-469b-85c4-eec3b9c972ba" providerId="ADAL" clId="{38265734-310D-45C8-99C3-9326DBD1A9F5}" dt="2023-07-04T17:10:42.016" v="39" actId="47"/>
        <pc:sldMkLst>
          <pc:docMk/>
          <pc:sldMk cId="3908660988" sldId="663"/>
        </pc:sldMkLst>
      </pc:sldChg>
      <pc:sldChg chg="del">
        <pc:chgData name="Thomas Stensitzki" userId="75cafe6b-2f2a-469b-85c4-eec3b9c972ba" providerId="ADAL" clId="{38265734-310D-45C8-99C3-9326DBD1A9F5}" dt="2023-07-04T17:10:47.896" v="40" actId="47"/>
        <pc:sldMkLst>
          <pc:docMk/>
          <pc:sldMk cId="1830824739" sldId="664"/>
        </pc:sldMkLst>
      </pc:sldChg>
      <pc:sldChg chg="del">
        <pc:chgData name="Thomas Stensitzki" userId="75cafe6b-2f2a-469b-85c4-eec3b9c972ba" providerId="ADAL" clId="{38265734-310D-45C8-99C3-9326DBD1A9F5}" dt="2023-07-04T17:10:42.016" v="39" actId="47"/>
        <pc:sldMkLst>
          <pc:docMk/>
          <pc:sldMk cId="923570546" sldId="665"/>
        </pc:sldMkLst>
      </pc:sldChg>
      <pc:sldChg chg="del">
        <pc:chgData name="Thomas Stensitzki" userId="75cafe6b-2f2a-469b-85c4-eec3b9c972ba" providerId="ADAL" clId="{38265734-310D-45C8-99C3-9326DBD1A9F5}" dt="2023-07-04T17:10:52.056" v="41" actId="47"/>
        <pc:sldMkLst>
          <pc:docMk/>
          <pc:sldMk cId="2929133666" sldId="666"/>
        </pc:sldMkLst>
      </pc:sldChg>
      <pc:sldChg chg="del">
        <pc:chgData name="Thomas Stensitzki" userId="75cafe6b-2f2a-469b-85c4-eec3b9c972ba" providerId="ADAL" clId="{38265734-310D-45C8-99C3-9326DBD1A9F5}" dt="2023-07-04T17:10:42.016" v="39" actId="47"/>
        <pc:sldMkLst>
          <pc:docMk/>
          <pc:sldMk cId="3802477703" sldId="667"/>
        </pc:sldMkLst>
      </pc:sldChg>
      <pc:sldChg chg="del">
        <pc:chgData name="Thomas Stensitzki" userId="75cafe6b-2f2a-469b-85c4-eec3b9c972ba" providerId="ADAL" clId="{38265734-310D-45C8-99C3-9326DBD1A9F5}" dt="2023-07-04T17:10:42.016" v="39" actId="47"/>
        <pc:sldMkLst>
          <pc:docMk/>
          <pc:sldMk cId="1650060701" sldId="668"/>
        </pc:sldMkLst>
      </pc:sldChg>
      <pc:sldChg chg="del">
        <pc:chgData name="Thomas Stensitzki" userId="75cafe6b-2f2a-469b-85c4-eec3b9c972ba" providerId="ADAL" clId="{38265734-310D-45C8-99C3-9326DBD1A9F5}" dt="2023-07-04T17:10:42.016" v="39" actId="47"/>
        <pc:sldMkLst>
          <pc:docMk/>
          <pc:sldMk cId="3682317345" sldId="670"/>
        </pc:sldMkLst>
      </pc:sldChg>
      <pc:sldChg chg="del">
        <pc:chgData name="Thomas Stensitzki" userId="75cafe6b-2f2a-469b-85c4-eec3b9c972ba" providerId="ADAL" clId="{38265734-310D-45C8-99C3-9326DBD1A9F5}" dt="2023-07-04T17:10:42.016" v="39" actId="47"/>
        <pc:sldMkLst>
          <pc:docMk/>
          <pc:sldMk cId="2047617742" sldId="671"/>
        </pc:sldMkLst>
      </pc:sldChg>
      <pc:sldChg chg="del">
        <pc:chgData name="Thomas Stensitzki" userId="75cafe6b-2f2a-469b-85c4-eec3b9c972ba" providerId="ADAL" clId="{38265734-310D-45C8-99C3-9326DBD1A9F5}" dt="2023-07-04T17:10:27.373" v="36" actId="47"/>
        <pc:sldMkLst>
          <pc:docMk/>
          <pc:sldMk cId="3858958038" sldId="672"/>
        </pc:sldMkLst>
      </pc:sldChg>
      <pc:sldChg chg="del">
        <pc:chgData name="Thomas Stensitzki" userId="75cafe6b-2f2a-469b-85c4-eec3b9c972ba" providerId="ADAL" clId="{38265734-310D-45C8-99C3-9326DBD1A9F5}" dt="2023-07-04T17:10:13.463" v="35" actId="47"/>
        <pc:sldMkLst>
          <pc:docMk/>
          <pc:sldMk cId="3468202035" sldId="673"/>
        </pc:sldMkLst>
      </pc:sldChg>
      <pc:sldChg chg="del">
        <pc:chgData name="Thomas Stensitzki" userId="75cafe6b-2f2a-469b-85c4-eec3b9c972ba" providerId="ADAL" clId="{38265734-310D-45C8-99C3-9326DBD1A9F5}" dt="2023-07-04T17:10:13.463" v="35" actId="47"/>
        <pc:sldMkLst>
          <pc:docMk/>
          <pc:sldMk cId="2327618361" sldId="674"/>
        </pc:sldMkLst>
      </pc:sldChg>
      <pc:sldChg chg="del">
        <pc:chgData name="Thomas Stensitzki" userId="75cafe6b-2f2a-469b-85c4-eec3b9c972ba" providerId="ADAL" clId="{38265734-310D-45C8-99C3-9326DBD1A9F5}" dt="2023-07-04T17:10:13.463" v="35" actId="47"/>
        <pc:sldMkLst>
          <pc:docMk/>
          <pc:sldMk cId="1759168096" sldId="675"/>
        </pc:sldMkLst>
      </pc:sldChg>
      <pc:sldChg chg="del">
        <pc:chgData name="Thomas Stensitzki" userId="75cafe6b-2f2a-469b-85c4-eec3b9c972ba" providerId="ADAL" clId="{38265734-310D-45C8-99C3-9326DBD1A9F5}" dt="2023-07-04T17:10:13.463" v="35" actId="47"/>
        <pc:sldMkLst>
          <pc:docMk/>
          <pc:sldMk cId="1298798883" sldId="676"/>
        </pc:sldMkLst>
      </pc:sldChg>
      <pc:sldChg chg="del">
        <pc:chgData name="Thomas Stensitzki" userId="75cafe6b-2f2a-469b-85c4-eec3b9c972ba" providerId="ADAL" clId="{38265734-310D-45C8-99C3-9326DBD1A9F5}" dt="2023-07-04T17:10:13.463" v="35" actId="47"/>
        <pc:sldMkLst>
          <pc:docMk/>
          <pc:sldMk cId="3589806354" sldId="678"/>
        </pc:sldMkLst>
      </pc:sldChg>
      <pc:sldChg chg="del">
        <pc:chgData name="Thomas Stensitzki" userId="75cafe6b-2f2a-469b-85c4-eec3b9c972ba" providerId="ADAL" clId="{38265734-310D-45C8-99C3-9326DBD1A9F5}" dt="2023-07-04T17:10:13.463" v="35" actId="47"/>
        <pc:sldMkLst>
          <pc:docMk/>
          <pc:sldMk cId="3797094460" sldId="679"/>
        </pc:sldMkLst>
      </pc:sldChg>
      <pc:sldChg chg="del">
        <pc:chgData name="Thomas Stensitzki" userId="75cafe6b-2f2a-469b-85c4-eec3b9c972ba" providerId="ADAL" clId="{38265734-310D-45C8-99C3-9326DBD1A9F5}" dt="2023-07-04T17:10:13.463" v="35" actId="47"/>
        <pc:sldMkLst>
          <pc:docMk/>
          <pc:sldMk cId="3004964480" sldId="680"/>
        </pc:sldMkLst>
      </pc:sldChg>
      <pc:sldChg chg="del">
        <pc:chgData name="Thomas Stensitzki" userId="75cafe6b-2f2a-469b-85c4-eec3b9c972ba" providerId="ADAL" clId="{38265734-310D-45C8-99C3-9326DBD1A9F5}" dt="2023-07-04T17:10:13.463" v="35" actId="47"/>
        <pc:sldMkLst>
          <pc:docMk/>
          <pc:sldMk cId="2318316286" sldId="681"/>
        </pc:sldMkLst>
      </pc:sldChg>
      <pc:sldChg chg="del">
        <pc:chgData name="Thomas Stensitzki" userId="75cafe6b-2f2a-469b-85c4-eec3b9c972ba" providerId="ADAL" clId="{38265734-310D-45C8-99C3-9326DBD1A9F5}" dt="2023-07-04T17:10:13.463" v="35" actId="47"/>
        <pc:sldMkLst>
          <pc:docMk/>
          <pc:sldMk cId="4114483723" sldId="682"/>
        </pc:sldMkLst>
      </pc:sldChg>
      <pc:sldChg chg="del">
        <pc:chgData name="Thomas Stensitzki" userId="75cafe6b-2f2a-469b-85c4-eec3b9c972ba" providerId="ADAL" clId="{38265734-310D-45C8-99C3-9326DBD1A9F5}" dt="2023-07-04T17:10:27.373" v="36" actId="47"/>
        <pc:sldMkLst>
          <pc:docMk/>
          <pc:sldMk cId="3010415139" sldId="683"/>
        </pc:sldMkLst>
      </pc:sldChg>
      <pc:sldChg chg="del">
        <pc:chgData name="Thomas Stensitzki" userId="75cafe6b-2f2a-469b-85c4-eec3b9c972ba" providerId="ADAL" clId="{38265734-310D-45C8-99C3-9326DBD1A9F5}" dt="2023-07-04T17:10:27.373" v="36" actId="47"/>
        <pc:sldMkLst>
          <pc:docMk/>
          <pc:sldMk cId="1765254123" sldId="684"/>
        </pc:sldMkLst>
      </pc:sldChg>
      <pc:sldChg chg="del">
        <pc:chgData name="Thomas Stensitzki" userId="75cafe6b-2f2a-469b-85c4-eec3b9c972ba" providerId="ADAL" clId="{38265734-310D-45C8-99C3-9326DBD1A9F5}" dt="2023-07-04T17:10:27.373" v="36" actId="47"/>
        <pc:sldMkLst>
          <pc:docMk/>
          <pc:sldMk cId="1361138141" sldId="685"/>
        </pc:sldMkLst>
      </pc:sldChg>
      <pc:sldChg chg="del">
        <pc:chgData name="Thomas Stensitzki" userId="75cafe6b-2f2a-469b-85c4-eec3b9c972ba" providerId="ADAL" clId="{38265734-310D-45C8-99C3-9326DBD1A9F5}" dt="2023-07-04T17:10:13.463" v="35" actId="47"/>
        <pc:sldMkLst>
          <pc:docMk/>
          <pc:sldMk cId="1099908272" sldId="686"/>
        </pc:sldMkLst>
      </pc:sldChg>
      <pc:sldChg chg="del">
        <pc:chgData name="Thomas Stensitzki" userId="75cafe6b-2f2a-469b-85c4-eec3b9c972ba" providerId="ADAL" clId="{38265734-310D-45C8-99C3-9326DBD1A9F5}" dt="2023-07-04T17:10:27.373" v="36" actId="47"/>
        <pc:sldMkLst>
          <pc:docMk/>
          <pc:sldMk cId="2682737613" sldId="687"/>
        </pc:sldMkLst>
      </pc:sldChg>
      <pc:sldChg chg="del">
        <pc:chgData name="Thomas Stensitzki" userId="75cafe6b-2f2a-469b-85c4-eec3b9c972ba" providerId="ADAL" clId="{38265734-310D-45C8-99C3-9326DBD1A9F5}" dt="2023-07-04T17:10:27.373" v="36" actId="47"/>
        <pc:sldMkLst>
          <pc:docMk/>
          <pc:sldMk cId="2943637064" sldId="688"/>
        </pc:sldMkLst>
      </pc:sldChg>
      <pc:sldChg chg="del">
        <pc:chgData name="Thomas Stensitzki" userId="75cafe6b-2f2a-469b-85c4-eec3b9c972ba" providerId="ADAL" clId="{38265734-310D-45C8-99C3-9326DBD1A9F5}" dt="2023-07-04T17:10:27.373" v="36" actId="47"/>
        <pc:sldMkLst>
          <pc:docMk/>
          <pc:sldMk cId="4179798793" sldId="689"/>
        </pc:sldMkLst>
      </pc:sldChg>
      <pc:sldChg chg="del">
        <pc:chgData name="Thomas Stensitzki" userId="75cafe6b-2f2a-469b-85c4-eec3b9c972ba" providerId="ADAL" clId="{38265734-310D-45C8-99C3-9326DBD1A9F5}" dt="2023-07-04T17:10:27.373" v="36" actId="47"/>
        <pc:sldMkLst>
          <pc:docMk/>
          <pc:sldMk cId="3467191386" sldId="690"/>
        </pc:sldMkLst>
      </pc:sldChg>
      <pc:sldChg chg="del">
        <pc:chgData name="Thomas Stensitzki" userId="75cafe6b-2f2a-469b-85c4-eec3b9c972ba" providerId="ADAL" clId="{38265734-310D-45C8-99C3-9326DBD1A9F5}" dt="2023-07-04T17:10:27.373" v="36" actId="47"/>
        <pc:sldMkLst>
          <pc:docMk/>
          <pc:sldMk cId="3176227063" sldId="691"/>
        </pc:sldMkLst>
      </pc:sldChg>
      <pc:sldChg chg="del">
        <pc:chgData name="Thomas Stensitzki" userId="75cafe6b-2f2a-469b-85c4-eec3b9c972ba" providerId="ADAL" clId="{38265734-310D-45C8-99C3-9326DBD1A9F5}" dt="2023-07-04T17:10:27.373" v="36" actId="47"/>
        <pc:sldMkLst>
          <pc:docMk/>
          <pc:sldMk cId="2332237802" sldId="692"/>
        </pc:sldMkLst>
      </pc:sldChg>
      <pc:sldChg chg="del">
        <pc:chgData name="Thomas Stensitzki" userId="75cafe6b-2f2a-469b-85c4-eec3b9c972ba" providerId="ADAL" clId="{38265734-310D-45C8-99C3-9326DBD1A9F5}" dt="2023-07-04T17:10:27.373" v="36" actId="47"/>
        <pc:sldMkLst>
          <pc:docMk/>
          <pc:sldMk cId="452218326" sldId="693"/>
        </pc:sldMkLst>
      </pc:sldChg>
      <pc:sldChg chg="del">
        <pc:chgData name="Thomas Stensitzki" userId="75cafe6b-2f2a-469b-85c4-eec3b9c972ba" providerId="ADAL" clId="{38265734-310D-45C8-99C3-9326DBD1A9F5}" dt="2023-07-04T17:10:27.373" v="36" actId="47"/>
        <pc:sldMkLst>
          <pc:docMk/>
          <pc:sldMk cId="1161338400" sldId="694"/>
        </pc:sldMkLst>
      </pc:sldChg>
      <pc:sldChg chg="del">
        <pc:chgData name="Thomas Stensitzki" userId="75cafe6b-2f2a-469b-85c4-eec3b9c972ba" providerId="ADAL" clId="{38265734-310D-45C8-99C3-9326DBD1A9F5}" dt="2023-07-04T17:10:27.373" v="36" actId="47"/>
        <pc:sldMkLst>
          <pc:docMk/>
          <pc:sldMk cId="3643256137" sldId="695"/>
        </pc:sldMkLst>
      </pc:sldChg>
      <pc:sldChg chg="del">
        <pc:chgData name="Thomas Stensitzki" userId="75cafe6b-2f2a-469b-85c4-eec3b9c972ba" providerId="ADAL" clId="{38265734-310D-45C8-99C3-9326DBD1A9F5}" dt="2023-07-04T17:10:27.373" v="36" actId="47"/>
        <pc:sldMkLst>
          <pc:docMk/>
          <pc:sldMk cId="3372974903" sldId="696"/>
        </pc:sldMkLst>
      </pc:sldChg>
      <pc:sldChg chg="del">
        <pc:chgData name="Thomas Stensitzki" userId="75cafe6b-2f2a-469b-85c4-eec3b9c972ba" providerId="ADAL" clId="{38265734-310D-45C8-99C3-9326DBD1A9F5}" dt="2023-07-04T17:10:13.463" v="35" actId="47"/>
        <pc:sldMkLst>
          <pc:docMk/>
          <pc:sldMk cId="374091465" sldId="697"/>
        </pc:sldMkLst>
      </pc:sldChg>
      <pc:sldChg chg="del">
        <pc:chgData name="Thomas Stensitzki" userId="75cafe6b-2f2a-469b-85c4-eec3b9c972ba" providerId="ADAL" clId="{38265734-310D-45C8-99C3-9326DBD1A9F5}" dt="2023-07-04T17:10:13.463" v="35" actId="47"/>
        <pc:sldMkLst>
          <pc:docMk/>
          <pc:sldMk cId="4258120031" sldId="698"/>
        </pc:sldMkLst>
      </pc:sldChg>
      <pc:sldChg chg="del">
        <pc:chgData name="Thomas Stensitzki" userId="75cafe6b-2f2a-469b-85c4-eec3b9c972ba" providerId="ADAL" clId="{38265734-310D-45C8-99C3-9326DBD1A9F5}" dt="2023-07-04T17:10:13.463" v="35" actId="47"/>
        <pc:sldMkLst>
          <pc:docMk/>
          <pc:sldMk cId="2743116939" sldId="699"/>
        </pc:sldMkLst>
      </pc:sldChg>
      <pc:sldChg chg="del">
        <pc:chgData name="Thomas Stensitzki" userId="75cafe6b-2f2a-469b-85c4-eec3b9c972ba" providerId="ADAL" clId="{38265734-310D-45C8-99C3-9326DBD1A9F5}" dt="2023-07-04T17:10:13.463" v="35" actId="47"/>
        <pc:sldMkLst>
          <pc:docMk/>
          <pc:sldMk cId="1230148335" sldId="700"/>
        </pc:sldMkLst>
      </pc:sldChg>
      <pc:sldChg chg="del">
        <pc:chgData name="Thomas Stensitzki" userId="75cafe6b-2f2a-469b-85c4-eec3b9c972ba" providerId="ADAL" clId="{38265734-310D-45C8-99C3-9326DBD1A9F5}" dt="2023-07-04T17:10:27.373" v="36" actId="47"/>
        <pc:sldMkLst>
          <pc:docMk/>
          <pc:sldMk cId="3896402637" sldId="701"/>
        </pc:sldMkLst>
      </pc:sldChg>
      <pc:sldChg chg="del">
        <pc:chgData name="Thomas Stensitzki" userId="75cafe6b-2f2a-469b-85c4-eec3b9c972ba" providerId="ADAL" clId="{38265734-310D-45C8-99C3-9326DBD1A9F5}" dt="2023-07-04T17:10:27.373" v="36" actId="47"/>
        <pc:sldMkLst>
          <pc:docMk/>
          <pc:sldMk cId="575615367" sldId="702"/>
        </pc:sldMkLst>
      </pc:sldChg>
      <pc:sldChg chg="del">
        <pc:chgData name="Thomas Stensitzki" userId="75cafe6b-2f2a-469b-85c4-eec3b9c972ba" providerId="ADAL" clId="{38265734-310D-45C8-99C3-9326DBD1A9F5}" dt="2023-07-04T17:10:13.463" v="35" actId="47"/>
        <pc:sldMkLst>
          <pc:docMk/>
          <pc:sldMk cId="4015570697" sldId="703"/>
        </pc:sldMkLst>
      </pc:sldChg>
      <pc:sldChg chg="del">
        <pc:chgData name="Thomas Stensitzki" userId="75cafe6b-2f2a-469b-85c4-eec3b9c972ba" providerId="ADAL" clId="{38265734-310D-45C8-99C3-9326DBD1A9F5}" dt="2023-07-04T17:10:13.463" v="35" actId="47"/>
        <pc:sldMkLst>
          <pc:docMk/>
          <pc:sldMk cId="1573460963" sldId="704"/>
        </pc:sldMkLst>
      </pc:sldChg>
      <pc:sldChg chg="del">
        <pc:chgData name="Thomas Stensitzki" userId="75cafe6b-2f2a-469b-85c4-eec3b9c972ba" providerId="ADAL" clId="{38265734-310D-45C8-99C3-9326DBD1A9F5}" dt="2023-07-04T17:10:13.463" v="35" actId="47"/>
        <pc:sldMkLst>
          <pc:docMk/>
          <pc:sldMk cId="2507653948" sldId="705"/>
        </pc:sldMkLst>
      </pc:sldChg>
      <pc:sldChg chg="del">
        <pc:chgData name="Thomas Stensitzki" userId="75cafe6b-2f2a-469b-85c4-eec3b9c972ba" providerId="ADAL" clId="{38265734-310D-45C8-99C3-9326DBD1A9F5}" dt="2023-07-04T17:10:27.373" v="36" actId="47"/>
        <pc:sldMkLst>
          <pc:docMk/>
          <pc:sldMk cId="2812659098" sldId="706"/>
        </pc:sldMkLst>
      </pc:sldChg>
      <pc:sldChg chg="del">
        <pc:chgData name="Thomas Stensitzki" userId="75cafe6b-2f2a-469b-85c4-eec3b9c972ba" providerId="ADAL" clId="{38265734-310D-45C8-99C3-9326DBD1A9F5}" dt="2023-07-04T17:10:27.373" v="36" actId="47"/>
        <pc:sldMkLst>
          <pc:docMk/>
          <pc:sldMk cId="1687698883" sldId="707"/>
        </pc:sldMkLst>
      </pc:sldChg>
      <pc:sldChg chg="del">
        <pc:chgData name="Thomas Stensitzki" userId="75cafe6b-2f2a-469b-85c4-eec3b9c972ba" providerId="ADAL" clId="{38265734-310D-45C8-99C3-9326DBD1A9F5}" dt="2023-07-04T17:10:27.373" v="36" actId="47"/>
        <pc:sldMkLst>
          <pc:docMk/>
          <pc:sldMk cId="228026287" sldId="708"/>
        </pc:sldMkLst>
      </pc:sldChg>
      <pc:sldChg chg="del">
        <pc:chgData name="Thomas Stensitzki" userId="75cafe6b-2f2a-469b-85c4-eec3b9c972ba" providerId="ADAL" clId="{38265734-310D-45C8-99C3-9326DBD1A9F5}" dt="2023-07-04T17:10:27.373" v="36" actId="47"/>
        <pc:sldMkLst>
          <pc:docMk/>
          <pc:sldMk cId="110691181" sldId="709"/>
        </pc:sldMkLst>
      </pc:sldChg>
      <pc:sldChg chg="del">
        <pc:chgData name="Thomas Stensitzki" userId="75cafe6b-2f2a-469b-85c4-eec3b9c972ba" providerId="ADAL" clId="{38265734-310D-45C8-99C3-9326DBD1A9F5}" dt="2023-07-04T17:10:27.373" v="36" actId="47"/>
        <pc:sldMkLst>
          <pc:docMk/>
          <pc:sldMk cId="548134817" sldId="710"/>
        </pc:sldMkLst>
      </pc:sldChg>
      <pc:sldChg chg="del">
        <pc:chgData name="Thomas Stensitzki" userId="75cafe6b-2f2a-469b-85c4-eec3b9c972ba" providerId="ADAL" clId="{38265734-310D-45C8-99C3-9326DBD1A9F5}" dt="2023-07-04T17:10:27.373" v="36" actId="47"/>
        <pc:sldMkLst>
          <pc:docMk/>
          <pc:sldMk cId="3364405255" sldId="711"/>
        </pc:sldMkLst>
      </pc:sldChg>
      <pc:sldChg chg="del">
        <pc:chgData name="Thomas Stensitzki" userId="75cafe6b-2f2a-469b-85c4-eec3b9c972ba" providerId="ADAL" clId="{38265734-310D-45C8-99C3-9326DBD1A9F5}" dt="2023-07-04T17:10:13.463" v="35" actId="47"/>
        <pc:sldMkLst>
          <pc:docMk/>
          <pc:sldMk cId="3869137616" sldId="712"/>
        </pc:sldMkLst>
      </pc:sldChg>
      <pc:sldChg chg="del">
        <pc:chgData name="Thomas Stensitzki" userId="75cafe6b-2f2a-469b-85c4-eec3b9c972ba" providerId="ADAL" clId="{38265734-310D-45C8-99C3-9326DBD1A9F5}" dt="2023-07-04T17:11:46.742" v="53" actId="47"/>
        <pc:sldMkLst>
          <pc:docMk/>
          <pc:sldMk cId="1812240311" sldId="713"/>
        </pc:sldMkLst>
      </pc:sldChg>
      <pc:sldChg chg="del">
        <pc:chgData name="Thomas Stensitzki" userId="75cafe6b-2f2a-469b-85c4-eec3b9c972ba" providerId="ADAL" clId="{38265734-310D-45C8-99C3-9326DBD1A9F5}" dt="2023-07-04T17:10:13.463" v="35" actId="47"/>
        <pc:sldMkLst>
          <pc:docMk/>
          <pc:sldMk cId="3493285919" sldId="714"/>
        </pc:sldMkLst>
      </pc:sldChg>
      <pc:sldChg chg="del">
        <pc:chgData name="Thomas Stensitzki" userId="75cafe6b-2f2a-469b-85c4-eec3b9c972ba" providerId="ADAL" clId="{38265734-310D-45C8-99C3-9326DBD1A9F5}" dt="2023-07-04T17:10:13.463" v="35" actId="47"/>
        <pc:sldMkLst>
          <pc:docMk/>
          <pc:sldMk cId="3096558029" sldId="715"/>
        </pc:sldMkLst>
      </pc:sldChg>
      <pc:sldChg chg="del">
        <pc:chgData name="Thomas Stensitzki" userId="75cafe6b-2f2a-469b-85c4-eec3b9c972ba" providerId="ADAL" clId="{38265734-310D-45C8-99C3-9326DBD1A9F5}" dt="2023-07-04T17:10:13.463" v="35" actId="47"/>
        <pc:sldMkLst>
          <pc:docMk/>
          <pc:sldMk cId="885506395" sldId="716"/>
        </pc:sldMkLst>
      </pc:sldChg>
      <pc:sldChg chg="del">
        <pc:chgData name="Thomas Stensitzki" userId="75cafe6b-2f2a-469b-85c4-eec3b9c972ba" providerId="ADAL" clId="{38265734-310D-45C8-99C3-9326DBD1A9F5}" dt="2023-07-04T17:10:13.463" v="35" actId="47"/>
        <pc:sldMkLst>
          <pc:docMk/>
          <pc:sldMk cId="3811181025" sldId="717"/>
        </pc:sldMkLst>
      </pc:sldChg>
      <pc:sldChg chg="del">
        <pc:chgData name="Thomas Stensitzki" userId="75cafe6b-2f2a-469b-85c4-eec3b9c972ba" providerId="ADAL" clId="{38265734-310D-45C8-99C3-9326DBD1A9F5}" dt="2023-07-04T17:10:13.463" v="35" actId="47"/>
        <pc:sldMkLst>
          <pc:docMk/>
          <pc:sldMk cId="1675618000" sldId="718"/>
        </pc:sldMkLst>
      </pc:sldChg>
      <pc:sldChg chg="del">
        <pc:chgData name="Thomas Stensitzki" userId="75cafe6b-2f2a-469b-85c4-eec3b9c972ba" providerId="ADAL" clId="{38265734-310D-45C8-99C3-9326DBD1A9F5}" dt="2023-07-04T17:10:13.463" v="35" actId="47"/>
        <pc:sldMkLst>
          <pc:docMk/>
          <pc:sldMk cId="3699936980" sldId="719"/>
        </pc:sldMkLst>
      </pc:sldChg>
      <pc:sldChg chg="del">
        <pc:chgData name="Thomas Stensitzki" userId="75cafe6b-2f2a-469b-85c4-eec3b9c972ba" providerId="ADAL" clId="{38265734-310D-45C8-99C3-9326DBD1A9F5}" dt="2023-07-04T17:10:13.463" v="35" actId="47"/>
        <pc:sldMkLst>
          <pc:docMk/>
          <pc:sldMk cId="1816139218" sldId="720"/>
        </pc:sldMkLst>
      </pc:sldChg>
      <pc:sldChg chg="del">
        <pc:chgData name="Thomas Stensitzki" userId="75cafe6b-2f2a-469b-85c4-eec3b9c972ba" providerId="ADAL" clId="{38265734-310D-45C8-99C3-9326DBD1A9F5}" dt="2023-07-04T17:10:13.463" v="35" actId="47"/>
        <pc:sldMkLst>
          <pc:docMk/>
          <pc:sldMk cId="2951801347" sldId="721"/>
        </pc:sldMkLst>
      </pc:sldChg>
      <pc:sldChg chg="del">
        <pc:chgData name="Thomas Stensitzki" userId="75cafe6b-2f2a-469b-85c4-eec3b9c972ba" providerId="ADAL" clId="{38265734-310D-45C8-99C3-9326DBD1A9F5}" dt="2023-07-04T17:10:27.373" v="36" actId="47"/>
        <pc:sldMkLst>
          <pc:docMk/>
          <pc:sldMk cId="286203048" sldId="722"/>
        </pc:sldMkLst>
      </pc:sldChg>
      <pc:sldChg chg="del">
        <pc:chgData name="Thomas Stensitzki" userId="75cafe6b-2f2a-469b-85c4-eec3b9c972ba" providerId="ADAL" clId="{38265734-310D-45C8-99C3-9326DBD1A9F5}" dt="2023-07-04T17:10:27.373" v="36" actId="47"/>
        <pc:sldMkLst>
          <pc:docMk/>
          <pc:sldMk cId="3113072159" sldId="723"/>
        </pc:sldMkLst>
      </pc:sldChg>
      <pc:sldChg chg="del">
        <pc:chgData name="Thomas Stensitzki" userId="75cafe6b-2f2a-469b-85c4-eec3b9c972ba" providerId="ADAL" clId="{38265734-310D-45C8-99C3-9326DBD1A9F5}" dt="2023-07-04T17:10:27.373" v="36" actId="47"/>
        <pc:sldMkLst>
          <pc:docMk/>
          <pc:sldMk cId="3469518411" sldId="724"/>
        </pc:sldMkLst>
      </pc:sldChg>
      <pc:sldChg chg="modTransition">
        <pc:chgData name="Thomas Stensitzki" userId="75cafe6b-2f2a-469b-85c4-eec3b9c972ba" providerId="ADAL" clId="{38265734-310D-45C8-99C3-9326DBD1A9F5}" dt="2023-07-06T09:12:47.870" v="1675"/>
        <pc:sldMkLst>
          <pc:docMk/>
          <pc:sldMk cId="1002613873" sldId="725"/>
        </pc:sldMkLst>
      </pc:sldChg>
      <pc:sldChg chg="modTransition">
        <pc:chgData name="Thomas Stensitzki" userId="75cafe6b-2f2a-469b-85c4-eec3b9c972ba" providerId="ADAL" clId="{38265734-310D-45C8-99C3-9326DBD1A9F5}" dt="2023-07-06T09:12:47.870" v="1675"/>
        <pc:sldMkLst>
          <pc:docMk/>
          <pc:sldMk cId="1629876044" sldId="726"/>
        </pc:sldMkLst>
      </pc:sldChg>
      <pc:sldChg chg="del">
        <pc:chgData name="Thomas Stensitzki" userId="75cafe6b-2f2a-469b-85c4-eec3b9c972ba" providerId="ADAL" clId="{38265734-310D-45C8-99C3-9326DBD1A9F5}" dt="2023-07-04T17:10:52.056" v="41" actId="47"/>
        <pc:sldMkLst>
          <pc:docMk/>
          <pc:sldMk cId="1727373922" sldId="727"/>
        </pc:sldMkLst>
      </pc:sldChg>
      <pc:sldChg chg="del">
        <pc:chgData name="Thomas Stensitzki" userId="75cafe6b-2f2a-469b-85c4-eec3b9c972ba" providerId="ADAL" clId="{38265734-310D-45C8-99C3-9326DBD1A9F5}" dt="2023-07-04T17:10:47.896" v="40" actId="47"/>
        <pc:sldMkLst>
          <pc:docMk/>
          <pc:sldMk cId="2980570034" sldId="728"/>
        </pc:sldMkLst>
      </pc:sldChg>
      <pc:sldChg chg="del">
        <pc:chgData name="Thomas Stensitzki" userId="75cafe6b-2f2a-469b-85c4-eec3b9c972ba" providerId="ADAL" clId="{38265734-310D-45C8-99C3-9326DBD1A9F5}" dt="2023-07-04T17:10:42.016" v="39" actId="47"/>
        <pc:sldMkLst>
          <pc:docMk/>
          <pc:sldMk cId="3577359359" sldId="729"/>
        </pc:sldMkLst>
      </pc:sldChg>
      <pc:sldChg chg="del">
        <pc:chgData name="Thomas Stensitzki" userId="75cafe6b-2f2a-469b-85c4-eec3b9c972ba" providerId="ADAL" clId="{38265734-310D-45C8-99C3-9326DBD1A9F5}" dt="2023-07-04T17:10:42.016" v="39" actId="47"/>
        <pc:sldMkLst>
          <pc:docMk/>
          <pc:sldMk cId="1502079206" sldId="730"/>
        </pc:sldMkLst>
      </pc:sldChg>
      <pc:sldChg chg="del">
        <pc:chgData name="Thomas Stensitzki" userId="75cafe6b-2f2a-469b-85c4-eec3b9c972ba" providerId="ADAL" clId="{38265734-310D-45C8-99C3-9326DBD1A9F5}" dt="2023-07-04T17:10:27.373" v="36" actId="47"/>
        <pc:sldMkLst>
          <pc:docMk/>
          <pc:sldMk cId="1769890538" sldId="731"/>
        </pc:sldMkLst>
      </pc:sldChg>
      <pc:sldChg chg="del">
        <pc:chgData name="Thomas Stensitzki" userId="75cafe6b-2f2a-469b-85c4-eec3b9c972ba" providerId="ADAL" clId="{38265734-310D-45C8-99C3-9326DBD1A9F5}" dt="2023-07-04T17:10:27.373" v="36" actId="47"/>
        <pc:sldMkLst>
          <pc:docMk/>
          <pc:sldMk cId="2791390437" sldId="732"/>
        </pc:sldMkLst>
      </pc:sldChg>
      <pc:sldChg chg="del">
        <pc:chgData name="Thomas Stensitzki" userId="75cafe6b-2f2a-469b-85c4-eec3b9c972ba" providerId="ADAL" clId="{38265734-310D-45C8-99C3-9326DBD1A9F5}" dt="2023-07-04T17:10:27.373" v="36" actId="47"/>
        <pc:sldMkLst>
          <pc:docMk/>
          <pc:sldMk cId="1361695656" sldId="733"/>
        </pc:sldMkLst>
      </pc:sldChg>
      <pc:sldChg chg="del">
        <pc:chgData name="Thomas Stensitzki" userId="75cafe6b-2f2a-469b-85c4-eec3b9c972ba" providerId="ADAL" clId="{38265734-310D-45C8-99C3-9326DBD1A9F5}" dt="2023-07-04T17:10:27.373" v="36" actId="47"/>
        <pc:sldMkLst>
          <pc:docMk/>
          <pc:sldMk cId="2251038635" sldId="734"/>
        </pc:sldMkLst>
      </pc:sldChg>
      <pc:sldChg chg="del">
        <pc:chgData name="Thomas Stensitzki" userId="75cafe6b-2f2a-469b-85c4-eec3b9c972ba" providerId="ADAL" clId="{38265734-310D-45C8-99C3-9326DBD1A9F5}" dt="2023-07-04T17:10:27.373" v="36" actId="47"/>
        <pc:sldMkLst>
          <pc:docMk/>
          <pc:sldMk cId="1632201943" sldId="735"/>
        </pc:sldMkLst>
      </pc:sldChg>
      <pc:sldChg chg="del">
        <pc:chgData name="Thomas Stensitzki" userId="75cafe6b-2f2a-469b-85c4-eec3b9c972ba" providerId="ADAL" clId="{38265734-310D-45C8-99C3-9326DBD1A9F5}" dt="2023-07-04T17:10:47.896" v="40" actId="47"/>
        <pc:sldMkLst>
          <pc:docMk/>
          <pc:sldMk cId="974887325" sldId="736"/>
        </pc:sldMkLst>
      </pc:sldChg>
      <pc:sldChg chg="del">
        <pc:chgData name="Thomas Stensitzki" userId="75cafe6b-2f2a-469b-85c4-eec3b9c972ba" providerId="ADAL" clId="{38265734-310D-45C8-99C3-9326DBD1A9F5}" dt="2023-07-04T17:10:47.896" v="40" actId="47"/>
        <pc:sldMkLst>
          <pc:docMk/>
          <pc:sldMk cId="158289274" sldId="737"/>
        </pc:sldMkLst>
      </pc:sldChg>
      <pc:sldChg chg="del">
        <pc:chgData name="Thomas Stensitzki" userId="75cafe6b-2f2a-469b-85c4-eec3b9c972ba" providerId="ADAL" clId="{38265734-310D-45C8-99C3-9326DBD1A9F5}" dt="2023-07-04T17:10:47.896" v="40" actId="47"/>
        <pc:sldMkLst>
          <pc:docMk/>
          <pc:sldMk cId="4000776221" sldId="738"/>
        </pc:sldMkLst>
      </pc:sldChg>
      <pc:sldChg chg="del">
        <pc:chgData name="Thomas Stensitzki" userId="75cafe6b-2f2a-469b-85c4-eec3b9c972ba" providerId="ADAL" clId="{38265734-310D-45C8-99C3-9326DBD1A9F5}" dt="2023-07-04T17:10:47.896" v="40" actId="47"/>
        <pc:sldMkLst>
          <pc:docMk/>
          <pc:sldMk cId="3492126300" sldId="739"/>
        </pc:sldMkLst>
      </pc:sldChg>
      <pc:sldChg chg="del">
        <pc:chgData name="Thomas Stensitzki" userId="75cafe6b-2f2a-469b-85c4-eec3b9c972ba" providerId="ADAL" clId="{38265734-310D-45C8-99C3-9326DBD1A9F5}" dt="2023-07-04T17:10:47.896" v="40" actId="47"/>
        <pc:sldMkLst>
          <pc:docMk/>
          <pc:sldMk cId="4097662530" sldId="740"/>
        </pc:sldMkLst>
      </pc:sldChg>
      <pc:sldChg chg="modTransition">
        <pc:chgData name="Thomas Stensitzki" userId="75cafe6b-2f2a-469b-85c4-eec3b9c972ba" providerId="ADAL" clId="{38265734-310D-45C8-99C3-9326DBD1A9F5}" dt="2023-07-06T09:12:47.870" v="1675"/>
        <pc:sldMkLst>
          <pc:docMk/>
          <pc:sldMk cId="980172925" sldId="741"/>
        </pc:sldMkLst>
      </pc:sldChg>
      <pc:sldChg chg="del">
        <pc:chgData name="Thomas Stensitzki" userId="75cafe6b-2f2a-469b-85c4-eec3b9c972ba" providerId="ADAL" clId="{38265734-310D-45C8-99C3-9326DBD1A9F5}" dt="2023-07-04T17:10:47.896" v="40" actId="47"/>
        <pc:sldMkLst>
          <pc:docMk/>
          <pc:sldMk cId="2087758615" sldId="742"/>
        </pc:sldMkLst>
      </pc:sldChg>
      <pc:sldChg chg="modSp new mod modTransition">
        <pc:chgData name="Thomas Stensitzki" userId="75cafe6b-2f2a-469b-85c4-eec3b9c972ba" providerId="ADAL" clId="{38265734-310D-45C8-99C3-9326DBD1A9F5}" dt="2023-07-06T09:12:47.870" v="1675"/>
        <pc:sldMkLst>
          <pc:docMk/>
          <pc:sldMk cId="3557551175" sldId="742"/>
        </pc:sldMkLst>
        <pc:spChg chg="mod">
          <ac:chgData name="Thomas Stensitzki" userId="75cafe6b-2f2a-469b-85c4-eec3b9c972ba" providerId="ADAL" clId="{38265734-310D-45C8-99C3-9326DBD1A9F5}" dt="2023-07-04T17:13:29.695" v="66" actId="20577"/>
          <ac:spMkLst>
            <pc:docMk/>
            <pc:sldMk cId="3557551175" sldId="742"/>
            <ac:spMk id="2" creationId="{25669646-BDA5-829D-CE77-6B7DEA2ECD1C}"/>
          </ac:spMkLst>
        </pc:spChg>
        <pc:spChg chg="mod">
          <ac:chgData name="Thomas Stensitzki" userId="75cafe6b-2f2a-469b-85c4-eec3b9c972ba" providerId="ADAL" clId="{38265734-310D-45C8-99C3-9326DBD1A9F5}" dt="2023-07-04T17:19:58.644" v="261" actId="6549"/>
          <ac:spMkLst>
            <pc:docMk/>
            <pc:sldMk cId="3557551175" sldId="742"/>
            <ac:spMk id="3" creationId="{A73292BD-6D4D-8DEF-24E0-3BA35B152797}"/>
          </ac:spMkLst>
        </pc:spChg>
      </pc:sldChg>
      <pc:sldChg chg="addSp modSp add mod modTransition">
        <pc:chgData name="Thomas Stensitzki" userId="75cafe6b-2f2a-469b-85c4-eec3b9c972ba" providerId="ADAL" clId="{38265734-310D-45C8-99C3-9326DBD1A9F5}" dt="2023-07-06T09:12:47.870" v="1675"/>
        <pc:sldMkLst>
          <pc:docMk/>
          <pc:sldMk cId="3417373465" sldId="743"/>
        </pc:sldMkLst>
        <pc:spChg chg="mod">
          <ac:chgData name="Thomas Stensitzki" userId="75cafe6b-2f2a-469b-85c4-eec3b9c972ba" providerId="ADAL" clId="{38265734-310D-45C8-99C3-9326DBD1A9F5}" dt="2023-07-04T17:19:52.050" v="251" actId="6549"/>
          <ac:spMkLst>
            <pc:docMk/>
            <pc:sldMk cId="3417373465" sldId="743"/>
            <ac:spMk id="3" creationId="{A73292BD-6D4D-8DEF-24E0-3BA35B152797}"/>
          </ac:spMkLst>
        </pc:spChg>
        <pc:spChg chg="add">
          <ac:chgData name="Thomas Stensitzki" userId="75cafe6b-2f2a-469b-85c4-eec3b9c972ba" providerId="ADAL" clId="{38265734-310D-45C8-99C3-9326DBD1A9F5}" dt="2023-07-04T17:24:41.148" v="428" actId="22"/>
          <ac:spMkLst>
            <pc:docMk/>
            <pc:sldMk cId="3417373465" sldId="743"/>
            <ac:spMk id="7" creationId="{94AFEE07-AB58-E317-81FD-204732E5B749}"/>
          </ac:spMkLst>
        </pc:spChg>
        <pc:picChg chg="add mod">
          <ac:chgData name="Thomas Stensitzki" userId="75cafe6b-2f2a-469b-85c4-eec3b9c972ba" providerId="ADAL" clId="{38265734-310D-45C8-99C3-9326DBD1A9F5}" dt="2023-07-04T17:19:35.511" v="235" actId="1076"/>
          <ac:picMkLst>
            <pc:docMk/>
            <pc:sldMk cId="3417373465" sldId="743"/>
            <ac:picMk id="5" creationId="{B2F9B17F-E6DD-092C-7884-0806803A1168}"/>
          </ac:picMkLst>
        </pc:picChg>
      </pc:sldChg>
      <pc:sldChg chg="modSp new mod modTransition">
        <pc:chgData name="Thomas Stensitzki" userId="75cafe6b-2f2a-469b-85c4-eec3b9c972ba" providerId="ADAL" clId="{38265734-310D-45C8-99C3-9326DBD1A9F5}" dt="2023-07-06T09:12:47.870" v="1675"/>
        <pc:sldMkLst>
          <pc:docMk/>
          <pc:sldMk cId="2876131910" sldId="744"/>
        </pc:sldMkLst>
        <pc:spChg chg="mod">
          <ac:chgData name="Thomas Stensitzki" userId="75cafe6b-2f2a-469b-85c4-eec3b9c972ba" providerId="ADAL" clId="{38265734-310D-45C8-99C3-9326DBD1A9F5}" dt="2023-07-04T17:20:59.894" v="269"/>
          <ac:spMkLst>
            <pc:docMk/>
            <pc:sldMk cId="2876131910" sldId="744"/>
            <ac:spMk id="2" creationId="{05A22D7D-30E5-D9F7-51DA-0E455A97C803}"/>
          </ac:spMkLst>
        </pc:spChg>
        <pc:spChg chg="mod">
          <ac:chgData name="Thomas Stensitzki" userId="75cafe6b-2f2a-469b-85c4-eec3b9c972ba" providerId="ADAL" clId="{38265734-310D-45C8-99C3-9326DBD1A9F5}" dt="2023-07-04T17:32:54.980" v="827" actId="20577"/>
          <ac:spMkLst>
            <pc:docMk/>
            <pc:sldMk cId="2876131910" sldId="744"/>
            <ac:spMk id="3" creationId="{69B722EA-1916-F112-CA6B-B7EC23B8BCD8}"/>
          </ac:spMkLst>
        </pc:spChg>
      </pc:sldChg>
      <pc:sldChg chg="modSp new mod modTransition">
        <pc:chgData name="Thomas Stensitzki" userId="75cafe6b-2f2a-469b-85c4-eec3b9c972ba" providerId="ADAL" clId="{38265734-310D-45C8-99C3-9326DBD1A9F5}" dt="2023-07-06T09:12:47.870" v="1675"/>
        <pc:sldMkLst>
          <pc:docMk/>
          <pc:sldMk cId="647126880" sldId="745"/>
        </pc:sldMkLst>
        <pc:spChg chg="mod">
          <ac:chgData name="Thomas Stensitzki" userId="75cafe6b-2f2a-469b-85c4-eec3b9c972ba" providerId="ADAL" clId="{38265734-310D-45C8-99C3-9326DBD1A9F5}" dt="2023-07-04T17:25:02.849" v="435"/>
          <ac:spMkLst>
            <pc:docMk/>
            <pc:sldMk cId="647126880" sldId="745"/>
            <ac:spMk id="2" creationId="{E63BCD18-CDDD-E574-9C20-75C0703A2D8D}"/>
          </ac:spMkLst>
        </pc:spChg>
        <pc:spChg chg="mod">
          <ac:chgData name="Thomas Stensitzki" userId="75cafe6b-2f2a-469b-85c4-eec3b9c972ba" providerId="ADAL" clId="{38265734-310D-45C8-99C3-9326DBD1A9F5}" dt="2023-07-04T17:32:37.869" v="820" actId="108"/>
          <ac:spMkLst>
            <pc:docMk/>
            <pc:sldMk cId="647126880" sldId="745"/>
            <ac:spMk id="3" creationId="{A3D8A0B5-8F2B-4896-7AC6-91FF82DB41A7}"/>
          </ac:spMkLst>
        </pc:spChg>
      </pc:sldChg>
      <pc:sldChg chg="modSp new mod modTransition">
        <pc:chgData name="Thomas Stensitzki" userId="75cafe6b-2f2a-469b-85c4-eec3b9c972ba" providerId="ADAL" clId="{38265734-310D-45C8-99C3-9326DBD1A9F5}" dt="2023-07-06T09:12:47.870" v="1675"/>
        <pc:sldMkLst>
          <pc:docMk/>
          <pc:sldMk cId="4269955596" sldId="746"/>
        </pc:sldMkLst>
        <pc:spChg chg="mod">
          <ac:chgData name="Thomas Stensitzki" userId="75cafe6b-2f2a-469b-85c4-eec3b9c972ba" providerId="ADAL" clId="{38265734-310D-45C8-99C3-9326DBD1A9F5}" dt="2023-07-04T17:29:00.079" v="549"/>
          <ac:spMkLst>
            <pc:docMk/>
            <pc:sldMk cId="4269955596" sldId="746"/>
            <ac:spMk id="2" creationId="{6EFB7124-AF88-388E-8F71-8A36F7D64C1F}"/>
          </ac:spMkLst>
        </pc:spChg>
        <pc:spChg chg="mod">
          <ac:chgData name="Thomas Stensitzki" userId="75cafe6b-2f2a-469b-85c4-eec3b9c972ba" providerId="ADAL" clId="{38265734-310D-45C8-99C3-9326DBD1A9F5}" dt="2023-07-04T17:32:25.273" v="819" actId="404"/>
          <ac:spMkLst>
            <pc:docMk/>
            <pc:sldMk cId="4269955596" sldId="746"/>
            <ac:spMk id="3" creationId="{90B55215-A3D5-BEBD-71F6-F0C5D9EC6B9B}"/>
          </ac:spMkLst>
        </pc:spChg>
      </pc:sldChg>
      <pc:sldChg chg="addSp delSp modSp new mod modTransition">
        <pc:chgData name="Thomas Stensitzki" userId="75cafe6b-2f2a-469b-85c4-eec3b9c972ba" providerId="ADAL" clId="{38265734-310D-45C8-99C3-9326DBD1A9F5}" dt="2023-07-06T09:12:47.870" v="1675"/>
        <pc:sldMkLst>
          <pc:docMk/>
          <pc:sldMk cId="2976596190" sldId="747"/>
        </pc:sldMkLst>
        <pc:spChg chg="mod">
          <ac:chgData name="Thomas Stensitzki" userId="75cafe6b-2f2a-469b-85c4-eec3b9c972ba" providerId="ADAL" clId="{38265734-310D-45C8-99C3-9326DBD1A9F5}" dt="2023-07-04T17:33:48.874" v="833"/>
          <ac:spMkLst>
            <pc:docMk/>
            <pc:sldMk cId="2976596190" sldId="747"/>
            <ac:spMk id="2" creationId="{B507E75F-8CAF-076C-CA29-0AB5E10D5317}"/>
          </ac:spMkLst>
        </pc:spChg>
        <pc:spChg chg="del">
          <ac:chgData name="Thomas Stensitzki" userId="75cafe6b-2f2a-469b-85c4-eec3b9c972ba" providerId="ADAL" clId="{38265734-310D-45C8-99C3-9326DBD1A9F5}" dt="2023-07-04T17:34:06.365" v="834" actId="478"/>
          <ac:spMkLst>
            <pc:docMk/>
            <pc:sldMk cId="2976596190" sldId="747"/>
            <ac:spMk id="3" creationId="{CE14BA50-FA92-CF13-D87B-EDA4F4AB07BC}"/>
          </ac:spMkLst>
        </pc:spChg>
        <pc:spChg chg="add del">
          <ac:chgData name="Thomas Stensitzki" userId="75cafe6b-2f2a-469b-85c4-eec3b9c972ba" providerId="ADAL" clId="{38265734-310D-45C8-99C3-9326DBD1A9F5}" dt="2023-07-04T17:34:09.587" v="836" actId="22"/>
          <ac:spMkLst>
            <pc:docMk/>
            <pc:sldMk cId="2976596190" sldId="747"/>
            <ac:spMk id="5" creationId="{57F087E1-B9ED-9EC6-831F-1B3B4207B495}"/>
          </ac:spMkLst>
        </pc:spChg>
        <pc:picChg chg="add mod">
          <ac:chgData name="Thomas Stensitzki" userId="75cafe6b-2f2a-469b-85c4-eec3b9c972ba" providerId="ADAL" clId="{38265734-310D-45C8-99C3-9326DBD1A9F5}" dt="2023-07-04T17:34:27.500" v="840" actId="1440"/>
          <ac:picMkLst>
            <pc:docMk/>
            <pc:sldMk cId="2976596190" sldId="747"/>
            <ac:picMk id="1026" creationId="{A770189C-6CFB-FA93-9102-265EF67ACDA4}"/>
          </ac:picMkLst>
        </pc:picChg>
      </pc:sldChg>
      <pc:sldChg chg="modSp add modTransition">
        <pc:chgData name="Thomas Stensitzki" userId="75cafe6b-2f2a-469b-85c4-eec3b9c972ba" providerId="ADAL" clId="{38265734-310D-45C8-99C3-9326DBD1A9F5}" dt="2023-07-06T09:12:47.870" v="1675"/>
        <pc:sldMkLst>
          <pc:docMk/>
          <pc:sldMk cId="4294720854" sldId="748"/>
        </pc:sldMkLst>
        <pc:picChg chg="mod">
          <ac:chgData name="Thomas Stensitzki" userId="75cafe6b-2f2a-469b-85c4-eec3b9c972ba" providerId="ADAL" clId="{38265734-310D-45C8-99C3-9326DBD1A9F5}" dt="2023-07-04T17:34:41.522" v="842" actId="14826"/>
          <ac:picMkLst>
            <pc:docMk/>
            <pc:sldMk cId="4294720854" sldId="748"/>
            <ac:picMk id="1026" creationId="{A770189C-6CFB-FA93-9102-265EF67ACDA4}"/>
          </ac:picMkLst>
        </pc:picChg>
      </pc:sldChg>
      <pc:sldChg chg="addSp delSp modSp new mod modTransition">
        <pc:chgData name="Thomas Stensitzki" userId="75cafe6b-2f2a-469b-85c4-eec3b9c972ba" providerId="ADAL" clId="{38265734-310D-45C8-99C3-9326DBD1A9F5}" dt="2023-07-06T09:12:47.870" v="1675"/>
        <pc:sldMkLst>
          <pc:docMk/>
          <pc:sldMk cId="2501624097" sldId="749"/>
        </pc:sldMkLst>
        <pc:spChg chg="mod">
          <ac:chgData name="Thomas Stensitzki" userId="75cafe6b-2f2a-469b-85c4-eec3b9c972ba" providerId="ADAL" clId="{38265734-310D-45C8-99C3-9326DBD1A9F5}" dt="2023-07-04T17:36:13.979" v="845"/>
          <ac:spMkLst>
            <pc:docMk/>
            <pc:sldMk cId="2501624097" sldId="749"/>
            <ac:spMk id="2" creationId="{3792302E-9793-3DAF-B48B-A7227CDEC7F3}"/>
          </ac:spMkLst>
        </pc:spChg>
        <pc:spChg chg="del mod">
          <ac:chgData name="Thomas Stensitzki" userId="75cafe6b-2f2a-469b-85c4-eec3b9c972ba" providerId="ADAL" clId="{38265734-310D-45C8-99C3-9326DBD1A9F5}" dt="2023-07-04T17:36:16.215" v="847" actId="478"/>
          <ac:spMkLst>
            <pc:docMk/>
            <pc:sldMk cId="2501624097" sldId="749"/>
            <ac:spMk id="3" creationId="{E1C5A94D-6AEE-0D4D-43AB-CEF07331C7E8}"/>
          </ac:spMkLst>
        </pc:spChg>
        <pc:picChg chg="add mod">
          <ac:chgData name="Thomas Stensitzki" userId="75cafe6b-2f2a-469b-85c4-eec3b9c972ba" providerId="ADAL" clId="{38265734-310D-45C8-99C3-9326DBD1A9F5}" dt="2023-07-04T17:37:11.919" v="854" actId="14100"/>
          <ac:picMkLst>
            <pc:docMk/>
            <pc:sldMk cId="2501624097" sldId="749"/>
            <ac:picMk id="2050" creationId="{02589CE5-5B1D-97FE-B175-FABA0D903EA3}"/>
          </ac:picMkLst>
        </pc:picChg>
        <pc:picChg chg="add mod">
          <ac:chgData name="Thomas Stensitzki" userId="75cafe6b-2f2a-469b-85c4-eec3b9c972ba" providerId="ADAL" clId="{38265734-310D-45C8-99C3-9326DBD1A9F5}" dt="2023-07-04T17:37:32.192" v="857" actId="1440"/>
          <ac:picMkLst>
            <pc:docMk/>
            <pc:sldMk cId="2501624097" sldId="749"/>
            <ac:picMk id="2052" creationId="{5D98C4DE-C8B0-73B6-A46E-B0C31EF2C2E1}"/>
          </ac:picMkLst>
        </pc:picChg>
      </pc:sldChg>
      <pc:sldChg chg="modSp add modTransition">
        <pc:chgData name="Thomas Stensitzki" userId="75cafe6b-2f2a-469b-85c4-eec3b9c972ba" providerId="ADAL" clId="{38265734-310D-45C8-99C3-9326DBD1A9F5}" dt="2023-07-06T09:12:47.870" v="1675"/>
        <pc:sldMkLst>
          <pc:docMk/>
          <pc:sldMk cId="2026815640" sldId="750"/>
        </pc:sldMkLst>
        <pc:picChg chg="mod">
          <ac:chgData name="Thomas Stensitzki" userId="75cafe6b-2f2a-469b-85c4-eec3b9c972ba" providerId="ADAL" clId="{38265734-310D-45C8-99C3-9326DBD1A9F5}" dt="2023-07-04T17:37:47.403" v="859" actId="14826"/>
          <ac:picMkLst>
            <pc:docMk/>
            <pc:sldMk cId="2026815640" sldId="750"/>
            <ac:picMk id="2052" creationId="{5D98C4DE-C8B0-73B6-A46E-B0C31EF2C2E1}"/>
          </ac:picMkLst>
        </pc:picChg>
      </pc:sldChg>
      <pc:sldChg chg="addSp delSp modSp new mod modTransition">
        <pc:chgData name="Thomas Stensitzki" userId="75cafe6b-2f2a-469b-85c4-eec3b9c972ba" providerId="ADAL" clId="{38265734-310D-45C8-99C3-9326DBD1A9F5}" dt="2023-07-06T09:12:47.870" v="1675"/>
        <pc:sldMkLst>
          <pc:docMk/>
          <pc:sldMk cId="1546711668" sldId="751"/>
        </pc:sldMkLst>
        <pc:spChg chg="mod">
          <ac:chgData name="Thomas Stensitzki" userId="75cafe6b-2f2a-469b-85c4-eec3b9c972ba" providerId="ADAL" clId="{38265734-310D-45C8-99C3-9326DBD1A9F5}" dt="2023-07-04T17:39:11.489" v="863"/>
          <ac:spMkLst>
            <pc:docMk/>
            <pc:sldMk cId="1546711668" sldId="751"/>
            <ac:spMk id="2" creationId="{7DABA570-3B10-05E2-CC04-3A6D28E33FAE}"/>
          </ac:spMkLst>
        </pc:spChg>
        <pc:spChg chg="del">
          <ac:chgData name="Thomas Stensitzki" userId="75cafe6b-2f2a-469b-85c4-eec3b9c972ba" providerId="ADAL" clId="{38265734-310D-45C8-99C3-9326DBD1A9F5}" dt="2023-07-04T17:39:19.911" v="864" actId="478"/>
          <ac:spMkLst>
            <pc:docMk/>
            <pc:sldMk cId="1546711668" sldId="751"/>
            <ac:spMk id="3" creationId="{39B79A4D-1648-C166-6EDF-4F8E0E56BE99}"/>
          </ac:spMkLst>
        </pc:spChg>
        <pc:picChg chg="add mod">
          <ac:chgData name="Thomas Stensitzki" userId="75cafe6b-2f2a-469b-85c4-eec3b9c972ba" providerId="ADAL" clId="{38265734-310D-45C8-99C3-9326DBD1A9F5}" dt="2023-07-04T17:39:31.947" v="868" actId="1440"/>
          <ac:picMkLst>
            <pc:docMk/>
            <pc:sldMk cId="1546711668" sldId="751"/>
            <ac:picMk id="4" creationId="{725CD086-AE5D-F5E6-BCC0-CEE939ECDE61}"/>
          </ac:picMkLst>
        </pc:picChg>
      </pc:sldChg>
      <pc:sldChg chg="modSp add mod modTransition">
        <pc:chgData name="Thomas Stensitzki" userId="75cafe6b-2f2a-469b-85c4-eec3b9c972ba" providerId="ADAL" clId="{38265734-310D-45C8-99C3-9326DBD1A9F5}" dt="2023-07-06T09:12:47.870" v="1675"/>
        <pc:sldMkLst>
          <pc:docMk/>
          <pc:sldMk cId="2598459548" sldId="752"/>
        </pc:sldMkLst>
        <pc:picChg chg="mod">
          <ac:chgData name="Thomas Stensitzki" userId="75cafe6b-2f2a-469b-85c4-eec3b9c972ba" providerId="ADAL" clId="{38265734-310D-45C8-99C3-9326DBD1A9F5}" dt="2023-07-04T17:39:43.675" v="870" actId="14826"/>
          <ac:picMkLst>
            <pc:docMk/>
            <pc:sldMk cId="2598459548" sldId="752"/>
            <ac:picMk id="4" creationId="{725CD086-AE5D-F5E6-BCC0-CEE939ECDE61}"/>
          </ac:picMkLst>
        </pc:picChg>
      </pc:sldChg>
      <pc:sldChg chg="addSp delSp modSp new mod modTransition modClrScheme chgLayout">
        <pc:chgData name="Thomas Stensitzki" userId="75cafe6b-2f2a-469b-85c4-eec3b9c972ba" providerId="ADAL" clId="{38265734-310D-45C8-99C3-9326DBD1A9F5}" dt="2023-07-06T09:12:47.870" v="1675"/>
        <pc:sldMkLst>
          <pc:docMk/>
          <pc:sldMk cId="3863686543" sldId="753"/>
        </pc:sldMkLst>
        <pc:spChg chg="del mod ord">
          <ac:chgData name="Thomas Stensitzki" userId="75cafe6b-2f2a-469b-85c4-eec3b9c972ba" providerId="ADAL" clId="{38265734-310D-45C8-99C3-9326DBD1A9F5}" dt="2023-07-04T17:40:20.771" v="873" actId="700"/>
          <ac:spMkLst>
            <pc:docMk/>
            <pc:sldMk cId="3863686543" sldId="753"/>
            <ac:spMk id="2" creationId="{DBE247AA-1ECA-8679-A40F-4D8002A8C022}"/>
          </ac:spMkLst>
        </pc:spChg>
        <pc:spChg chg="del">
          <ac:chgData name="Thomas Stensitzki" userId="75cafe6b-2f2a-469b-85c4-eec3b9c972ba" providerId="ADAL" clId="{38265734-310D-45C8-99C3-9326DBD1A9F5}" dt="2023-07-04T17:40:20.771" v="873" actId="700"/>
          <ac:spMkLst>
            <pc:docMk/>
            <pc:sldMk cId="3863686543" sldId="753"/>
            <ac:spMk id="3" creationId="{893605D7-8A0D-6581-E50E-A1A00F0E7E3E}"/>
          </ac:spMkLst>
        </pc:spChg>
        <pc:spChg chg="add mod ord">
          <ac:chgData name="Thomas Stensitzki" userId="75cafe6b-2f2a-469b-85c4-eec3b9c972ba" providerId="ADAL" clId="{38265734-310D-45C8-99C3-9326DBD1A9F5}" dt="2023-07-04T17:41:59.899" v="892" actId="700"/>
          <ac:spMkLst>
            <pc:docMk/>
            <pc:sldMk cId="3863686543" sldId="753"/>
            <ac:spMk id="4" creationId="{D206F3D5-85C3-1361-4181-95F4BC1D5551}"/>
          </ac:spMkLst>
        </pc:spChg>
        <pc:spChg chg="add mod ord">
          <ac:chgData name="Thomas Stensitzki" userId="75cafe6b-2f2a-469b-85c4-eec3b9c972ba" providerId="ADAL" clId="{38265734-310D-45C8-99C3-9326DBD1A9F5}" dt="2023-07-04T17:42:42.863" v="956" actId="6549"/>
          <ac:spMkLst>
            <pc:docMk/>
            <pc:sldMk cId="3863686543" sldId="753"/>
            <ac:spMk id="5" creationId="{A611C7A5-548F-D396-5ED3-BD1D3B2C100A}"/>
          </ac:spMkLst>
        </pc:spChg>
        <pc:picChg chg="add mod">
          <ac:chgData name="Thomas Stensitzki" userId="75cafe6b-2f2a-469b-85c4-eec3b9c972ba" providerId="ADAL" clId="{38265734-310D-45C8-99C3-9326DBD1A9F5}" dt="2023-07-04T17:42:04.534" v="894" actId="1076"/>
          <ac:picMkLst>
            <pc:docMk/>
            <pc:sldMk cId="3863686543" sldId="753"/>
            <ac:picMk id="3074" creationId="{FD99560C-CCF0-E12A-FEAC-0817DE972DEC}"/>
          </ac:picMkLst>
        </pc:picChg>
      </pc:sldChg>
      <pc:sldChg chg="addSp delSp modSp add del mod modTransition">
        <pc:chgData name="Thomas Stensitzki" userId="75cafe6b-2f2a-469b-85c4-eec3b9c972ba" providerId="ADAL" clId="{38265734-310D-45C8-99C3-9326DBD1A9F5}" dt="2023-07-06T09:12:47.870" v="1675"/>
        <pc:sldMkLst>
          <pc:docMk/>
          <pc:sldMk cId="4175667725" sldId="754"/>
        </pc:sldMkLst>
        <pc:picChg chg="add mod">
          <ac:chgData name="Thomas Stensitzki" userId="75cafe6b-2f2a-469b-85c4-eec3b9c972ba" providerId="ADAL" clId="{38265734-310D-45C8-99C3-9326DBD1A9F5}" dt="2023-07-04T17:41:52.714" v="891" actId="14826"/>
          <ac:picMkLst>
            <pc:docMk/>
            <pc:sldMk cId="4175667725" sldId="754"/>
            <ac:picMk id="2" creationId="{0CF5EBAE-D810-4D5D-F9B7-890EF6F4F520}"/>
          </ac:picMkLst>
        </pc:picChg>
        <pc:picChg chg="del">
          <ac:chgData name="Thomas Stensitzki" userId="75cafe6b-2f2a-469b-85c4-eec3b9c972ba" providerId="ADAL" clId="{38265734-310D-45C8-99C3-9326DBD1A9F5}" dt="2023-07-04T17:41:01.518" v="884" actId="478"/>
          <ac:picMkLst>
            <pc:docMk/>
            <pc:sldMk cId="4175667725" sldId="754"/>
            <ac:picMk id="3074" creationId="{FD99560C-CCF0-E12A-FEAC-0817DE972DEC}"/>
          </ac:picMkLst>
        </pc:picChg>
      </pc:sldChg>
      <pc:sldChg chg="add modTransition">
        <pc:chgData name="Thomas Stensitzki" userId="75cafe6b-2f2a-469b-85c4-eec3b9c972ba" providerId="ADAL" clId="{38265734-310D-45C8-99C3-9326DBD1A9F5}" dt="2023-07-06T09:12:47.870" v="1675"/>
        <pc:sldMkLst>
          <pc:docMk/>
          <pc:sldMk cId="2580803171" sldId="755"/>
        </pc:sldMkLst>
      </pc:sldChg>
      <pc:sldChg chg="modTransition">
        <pc:chgData name="Thomas Stensitzki" userId="75cafe6b-2f2a-469b-85c4-eec3b9c972ba" providerId="ADAL" clId="{38265734-310D-45C8-99C3-9326DBD1A9F5}" dt="2023-07-06T09:12:47.870" v="1675"/>
        <pc:sldMkLst>
          <pc:docMk/>
          <pc:sldMk cId="3441249704" sldId="756"/>
        </pc:sldMkLst>
      </pc:sldChg>
      <pc:sldChg chg="modTransition">
        <pc:chgData name="Thomas Stensitzki" userId="75cafe6b-2f2a-469b-85c4-eec3b9c972ba" providerId="ADAL" clId="{38265734-310D-45C8-99C3-9326DBD1A9F5}" dt="2023-07-06T09:12:47.870" v="1675"/>
        <pc:sldMkLst>
          <pc:docMk/>
          <pc:sldMk cId="2120421256" sldId="757"/>
        </pc:sldMkLst>
      </pc:sldChg>
      <pc:sldChg chg="modTransition">
        <pc:chgData name="Thomas Stensitzki" userId="75cafe6b-2f2a-469b-85c4-eec3b9c972ba" providerId="ADAL" clId="{38265734-310D-45C8-99C3-9326DBD1A9F5}" dt="2023-07-06T09:12:47.870" v="1675"/>
        <pc:sldMkLst>
          <pc:docMk/>
          <pc:sldMk cId="3538299181" sldId="758"/>
        </pc:sldMkLst>
      </pc:sldChg>
      <pc:sldChg chg="modTransition">
        <pc:chgData name="Thomas Stensitzki" userId="75cafe6b-2f2a-469b-85c4-eec3b9c972ba" providerId="ADAL" clId="{38265734-310D-45C8-99C3-9326DBD1A9F5}" dt="2023-07-06T09:12:47.870" v="1675"/>
        <pc:sldMkLst>
          <pc:docMk/>
          <pc:sldMk cId="2253260559" sldId="759"/>
        </pc:sldMkLst>
      </pc:sldChg>
      <pc:sldChg chg="modTransition">
        <pc:chgData name="Thomas Stensitzki" userId="75cafe6b-2f2a-469b-85c4-eec3b9c972ba" providerId="ADAL" clId="{38265734-310D-45C8-99C3-9326DBD1A9F5}" dt="2023-07-06T09:12:47.870" v="1675"/>
        <pc:sldMkLst>
          <pc:docMk/>
          <pc:sldMk cId="3932105883" sldId="760"/>
        </pc:sldMkLst>
      </pc:sldChg>
      <pc:sldChg chg="modTransition">
        <pc:chgData name="Thomas Stensitzki" userId="75cafe6b-2f2a-469b-85c4-eec3b9c972ba" providerId="ADAL" clId="{38265734-310D-45C8-99C3-9326DBD1A9F5}" dt="2023-07-06T09:12:47.870" v="1675"/>
        <pc:sldMkLst>
          <pc:docMk/>
          <pc:sldMk cId="3362652068" sldId="761"/>
        </pc:sldMkLst>
      </pc:sldChg>
      <pc:sldChg chg="addSp delSp modSp new mod modTransition modClrScheme chgLayout">
        <pc:chgData name="Thomas Stensitzki" userId="75cafe6b-2f2a-469b-85c4-eec3b9c972ba" providerId="ADAL" clId="{38265734-310D-45C8-99C3-9326DBD1A9F5}" dt="2023-07-06T09:12:47.870" v="1675"/>
        <pc:sldMkLst>
          <pc:docMk/>
          <pc:sldMk cId="1155620625" sldId="762"/>
        </pc:sldMkLst>
        <pc:spChg chg="del mod ord">
          <ac:chgData name="Thomas Stensitzki" userId="75cafe6b-2f2a-469b-85c4-eec3b9c972ba" providerId="ADAL" clId="{38265734-310D-45C8-99C3-9326DBD1A9F5}" dt="2023-07-06T06:46:57.787" v="958" actId="700"/>
          <ac:spMkLst>
            <pc:docMk/>
            <pc:sldMk cId="1155620625" sldId="762"/>
            <ac:spMk id="2" creationId="{2C2B5365-5E67-6ECB-A2C1-CC6B48616B6E}"/>
          </ac:spMkLst>
        </pc:spChg>
        <pc:spChg chg="del mod ord">
          <ac:chgData name="Thomas Stensitzki" userId="75cafe6b-2f2a-469b-85c4-eec3b9c972ba" providerId="ADAL" clId="{38265734-310D-45C8-99C3-9326DBD1A9F5}" dt="2023-07-06T06:46:57.787" v="958" actId="700"/>
          <ac:spMkLst>
            <pc:docMk/>
            <pc:sldMk cId="1155620625" sldId="762"/>
            <ac:spMk id="3" creationId="{AD2297F8-AD75-4FE1-9A6E-B37664901DCE}"/>
          </ac:spMkLst>
        </pc:spChg>
        <pc:spChg chg="add mod ord">
          <ac:chgData name="Thomas Stensitzki" userId="75cafe6b-2f2a-469b-85c4-eec3b9c972ba" providerId="ADAL" clId="{38265734-310D-45C8-99C3-9326DBD1A9F5}" dt="2023-07-06T06:58:02.330" v="1036" actId="20577"/>
          <ac:spMkLst>
            <pc:docMk/>
            <pc:sldMk cId="1155620625" sldId="762"/>
            <ac:spMk id="4" creationId="{22178338-04CE-D0ED-FF1C-006DA86C3465}"/>
          </ac:spMkLst>
        </pc:spChg>
        <pc:spChg chg="add del mod ord">
          <ac:chgData name="Thomas Stensitzki" userId="75cafe6b-2f2a-469b-85c4-eec3b9c972ba" providerId="ADAL" clId="{38265734-310D-45C8-99C3-9326DBD1A9F5}" dt="2023-07-06T06:58:42.041" v="1039"/>
          <ac:spMkLst>
            <pc:docMk/>
            <pc:sldMk cId="1155620625" sldId="762"/>
            <ac:spMk id="5" creationId="{E051A96C-66E0-5823-6CCB-1AD57472AD68}"/>
          </ac:spMkLst>
        </pc:spChg>
        <pc:spChg chg="add del mod">
          <ac:chgData name="Thomas Stensitzki" userId="75cafe6b-2f2a-469b-85c4-eec3b9c972ba" providerId="ADAL" clId="{38265734-310D-45C8-99C3-9326DBD1A9F5}" dt="2023-07-06T06:47:44.974" v="960"/>
          <ac:spMkLst>
            <pc:docMk/>
            <pc:sldMk cId="1155620625" sldId="762"/>
            <ac:spMk id="6" creationId="{75345CCC-37A2-F68F-4871-4B66E28D2250}"/>
          </ac:spMkLst>
        </pc:spChg>
        <pc:picChg chg="add del mod">
          <ac:chgData name="Thomas Stensitzki" userId="75cafe6b-2f2a-469b-85c4-eec3b9c972ba" providerId="ADAL" clId="{38265734-310D-45C8-99C3-9326DBD1A9F5}" dt="2023-07-06T06:51:41.896" v="970" actId="478"/>
          <ac:picMkLst>
            <pc:docMk/>
            <pc:sldMk cId="1155620625" sldId="762"/>
            <ac:picMk id="8" creationId="{7B906823-1E03-0CBC-BAC4-8A9CD644AE8E}"/>
          </ac:picMkLst>
        </pc:picChg>
      </pc:sldChg>
      <pc:sldChg chg="modSp new mod modTransition">
        <pc:chgData name="Thomas Stensitzki" userId="75cafe6b-2f2a-469b-85c4-eec3b9c972ba" providerId="ADAL" clId="{38265734-310D-45C8-99C3-9326DBD1A9F5}" dt="2023-07-06T09:12:47.870" v="1675"/>
        <pc:sldMkLst>
          <pc:docMk/>
          <pc:sldMk cId="2162106461" sldId="763"/>
        </pc:sldMkLst>
        <pc:spChg chg="mod">
          <ac:chgData name="Thomas Stensitzki" userId="75cafe6b-2f2a-469b-85c4-eec3b9c972ba" providerId="ADAL" clId="{38265734-310D-45C8-99C3-9326DBD1A9F5}" dt="2023-07-06T07:41:29.925" v="1080" actId="20577"/>
          <ac:spMkLst>
            <pc:docMk/>
            <pc:sldMk cId="2162106461" sldId="763"/>
            <ac:spMk id="2" creationId="{D65474EA-1930-D05E-93DF-5737D75B5E13}"/>
          </ac:spMkLst>
        </pc:spChg>
        <pc:spChg chg="mod">
          <ac:chgData name="Thomas Stensitzki" userId="75cafe6b-2f2a-469b-85c4-eec3b9c972ba" providerId="ADAL" clId="{38265734-310D-45C8-99C3-9326DBD1A9F5}" dt="2023-07-06T07:14:24.263" v="1062" actId="20577"/>
          <ac:spMkLst>
            <pc:docMk/>
            <pc:sldMk cId="2162106461" sldId="763"/>
            <ac:spMk id="3" creationId="{8EEB6D6D-3A83-0B23-CA93-4211B33EC39E}"/>
          </ac:spMkLst>
        </pc:spChg>
      </pc:sldChg>
      <pc:sldChg chg="addSp modSp new mod modTransition">
        <pc:chgData name="Thomas Stensitzki" userId="75cafe6b-2f2a-469b-85c4-eec3b9c972ba" providerId="ADAL" clId="{38265734-310D-45C8-99C3-9326DBD1A9F5}" dt="2023-07-06T09:12:47.870" v="1675"/>
        <pc:sldMkLst>
          <pc:docMk/>
          <pc:sldMk cId="3624400259" sldId="764"/>
        </pc:sldMkLst>
        <pc:spChg chg="mod">
          <ac:chgData name="Thomas Stensitzki" userId="75cafe6b-2f2a-469b-85c4-eec3b9c972ba" providerId="ADAL" clId="{38265734-310D-45C8-99C3-9326DBD1A9F5}" dt="2023-07-06T08:04:31.603" v="1114" actId="20577"/>
          <ac:spMkLst>
            <pc:docMk/>
            <pc:sldMk cId="3624400259" sldId="764"/>
            <ac:spMk id="2" creationId="{AD1CE879-8D87-67A0-53DD-46746B68136E}"/>
          </ac:spMkLst>
        </pc:spChg>
        <pc:spChg chg="mod">
          <ac:chgData name="Thomas Stensitzki" userId="75cafe6b-2f2a-469b-85c4-eec3b9c972ba" providerId="ADAL" clId="{38265734-310D-45C8-99C3-9326DBD1A9F5}" dt="2023-07-06T07:54:43.393" v="1083"/>
          <ac:spMkLst>
            <pc:docMk/>
            <pc:sldMk cId="3624400259" sldId="764"/>
            <ac:spMk id="3" creationId="{FAE178F3-E203-E1A9-2C9D-998248BD6EC7}"/>
          </ac:spMkLst>
        </pc:spChg>
        <pc:picChg chg="add mod">
          <ac:chgData name="Thomas Stensitzki" userId="75cafe6b-2f2a-469b-85c4-eec3b9c972ba" providerId="ADAL" clId="{38265734-310D-45C8-99C3-9326DBD1A9F5}" dt="2023-07-06T07:58:13.868" v="1088" actId="1076"/>
          <ac:picMkLst>
            <pc:docMk/>
            <pc:sldMk cId="3624400259" sldId="764"/>
            <ac:picMk id="4" creationId="{01736D4E-DDE5-BFAC-4614-402467C5B816}"/>
          </ac:picMkLst>
        </pc:picChg>
      </pc:sldChg>
      <pc:sldChg chg="addSp modSp new mod modTransition">
        <pc:chgData name="Thomas Stensitzki" userId="75cafe6b-2f2a-469b-85c4-eec3b9c972ba" providerId="ADAL" clId="{38265734-310D-45C8-99C3-9326DBD1A9F5}" dt="2023-07-06T09:12:47.870" v="1675"/>
        <pc:sldMkLst>
          <pc:docMk/>
          <pc:sldMk cId="4177790355" sldId="765"/>
        </pc:sldMkLst>
        <pc:spChg chg="mod">
          <ac:chgData name="Thomas Stensitzki" userId="75cafe6b-2f2a-469b-85c4-eec3b9c972ba" providerId="ADAL" clId="{38265734-310D-45C8-99C3-9326DBD1A9F5}" dt="2023-07-06T08:05:11.742" v="1127" actId="20577"/>
          <ac:spMkLst>
            <pc:docMk/>
            <pc:sldMk cId="4177790355" sldId="765"/>
            <ac:spMk id="2" creationId="{68DC01E6-67C6-E7B2-85C9-7B6197F3930F}"/>
          </ac:spMkLst>
        </pc:spChg>
        <pc:spChg chg="mod">
          <ac:chgData name="Thomas Stensitzki" userId="75cafe6b-2f2a-469b-85c4-eec3b9c972ba" providerId="ADAL" clId="{38265734-310D-45C8-99C3-9326DBD1A9F5}" dt="2023-07-06T08:10:00.357" v="1157" actId="20577"/>
          <ac:spMkLst>
            <pc:docMk/>
            <pc:sldMk cId="4177790355" sldId="765"/>
            <ac:spMk id="3" creationId="{C260379D-7083-9ABA-F7E6-FDDD1E4A3196}"/>
          </ac:spMkLst>
        </pc:spChg>
        <pc:graphicFrameChg chg="add mod modGraphic">
          <ac:chgData name="Thomas Stensitzki" userId="75cafe6b-2f2a-469b-85c4-eec3b9c972ba" providerId="ADAL" clId="{38265734-310D-45C8-99C3-9326DBD1A9F5}" dt="2023-07-06T08:08:56.666" v="1154" actId="114"/>
          <ac:graphicFrameMkLst>
            <pc:docMk/>
            <pc:sldMk cId="4177790355" sldId="765"/>
            <ac:graphicFrameMk id="4" creationId="{2229A603-5C3C-5755-565B-E34E2A37DFC8}"/>
          </ac:graphicFrameMkLst>
        </pc:graphicFrameChg>
      </pc:sldChg>
      <pc:sldChg chg="addSp modSp new mod modTransition">
        <pc:chgData name="Thomas Stensitzki" userId="75cafe6b-2f2a-469b-85c4-eec3b9c972ba" providerId="ADAL" clId="{38265734-310D-45C8-99C3-9326DBD1A9F5}" dt="2023-07-06T09:12:47.870" v="1675"/>
        <pc:sldMkLst>
          <pc:docMk/>
          <pc:sldMk cId="2406853124" sldId="766"/>
        </pc:sldMkLst>
        <pc:spChg chg="mod">
          <ac:chgData name="Thomas Stensitzki" userId="75cafe6b-2f2a-469b-85c4-eec3b9c972ba" providerId="ADAL" clId="{38265734-310D-45C8-99C3-9326DBD1A9F5}" dt="2023-07-06T08:59:15.084" v="1169" actId="20577"/>
          <ac:spMkLst>
            <pc:docMk/>
            <pc:sldMk cId="2406853124" sldId="766"/>
            <ac:spMk id="2" creationId="{D64CBA17-64C8-8015-F12B-ECB6F583EE65}"/>
          </ac:spMkLst>
        </pc:spChg>
        <pc:spChg chg="mod">
          <ac:chgData name="Thomas Stensitzki" userId="75cafe6b-2f2a-469b-85c4-eec3b9c972ba" providerId="ADAL" clId="{38265734-310D-45C8-99C3-9326DBD1A9F5}" dt="2023-07-06T08:27:59.523" v="1160"/>
          <ac:spMkLst>
            <pc:docMk/>
            <pc:sldMk cId="2406853124" sldId="766"/>
            <ac:spMk id="3" creationId="{FB28A2E7-59D3-1BE2-6688-FDDB51677FC4}"/>
          </ac:spMkLst>
        </pc:spChg>
        <pc:picChg chg="add mod">
          <ac:chgData name="Thomas Stensitzki" userId="75cafe6b-2f2a-469b-85c4-eec3b9c972ba" providerId="ADAL" clId="{38265734-310D-45C8-99C3-9326DBD1A9F5}" dt="2023-07-06T08:53:09.511" v="1164" actId="1440"/>
          <ac:picMkLst>
            <pc:docMk/>
            <pc:sldMk cId="2406853124" sldId="766"/>
            <ac:picMk id="3074" creationId="{E6422EC6-6E4A-6054-F1B7-D102B94342B1}"/>
          </ac:picMkLst>
        </pc:picChg>
      </pc:sldChg>
      <pc:sldChg chg="addSp modSp new mod modTransition">
        <pc:chgData name="Thomas Stensitzki" userId="75cafe6b-2f2a-469b-85c4-eec3b9c972ba" providerId="ADAL" clId="{38265734-310D-45C8-99C3-9326DBD1A9F5}" dt="2023-07-06T09:12:47.870" v="1675"/>
        <pc:sldMkLst>
          <pc:docMk/>
          <pc:sldMk cId="2531410684" sldId="767"/>
        </pc:sldMkLst>
        <pc:spChg chg="mod">
          <ac:chgData name="Thomas Stensitzki" userId="75cafe6b-2f2a-469b-85c4-eec3b9c972ba" providerId="ADAL" clId="{38265734-310D-45C8-99C3-9326DBD1A9F5}" dt="2023-07-06T09:09:39.506" v="1659" actId="20577"/>
          <ac:spMkLst>
            <pc:docMk/>
            <pc:sldMk cId="2531410684" sldId="767"/>
            <ac:spMk id="2" creationId="{C9118AC6-BF00-F8E7-CDF7-FB12719CD258}"/>
          </ac:spMkLst>
        </pc:spChg>
        <pc:spChg chg="mod">
          <ac:chgData name="Thomas Stensitzki" userId="75cafe6b-2f2a-469b-85c4-eec3b9c972ba" providerId="ADAL" clId="{38265734-310D-45C8-99C3-9326DBD1A9F5}" dt="2023-07-06T09:11:13.535" v="1661" actId="20577"/>
          <ac:spMkLst>
            <pc:docMk/>
            <pc:sldMk cId="2531410684" sldId="767"/>
            <ac:spMk id="3" creationId="{70DB79B1-19BF-63CD-1706-76AC0DCE083A}"/>
          </ac:spMkLst>
        </pc:spChg>
        <pc:spChg chg="add mod">
          <ac:chgData name="Thomas Stensitzki" userId="75cafe6b-2f2a-469b-85c4-eec3b9c972ba" providerId="ADAL" clId="{38265734-310D-45C8-99C3-9326DBD1A9F5}" dt="2023-07-06T09:11:47.054" v="1667" actId="1076"/>
          <ac:spMkLst>
            <pc:docMk/>
            <pc:sldMk cId="2531410684" sldId="767"/>
            <ac:spMk id="6" creationId="{F8D64169-68E5-6887-9282-25E78AEAC325}"/>
          </ac:spMkLst>
        </pc:spChg>
        <pc:picChg chg="add mod">
          <ac:chgData name="Thomas Stensitzki" userId="75cafe6b-2f2a-469b-85c4-eec3b9c972ba" providerId="ADAL" clId="{38265734-310D-45C8-99C3-9326DBD1A9F5}" dt="2023-07-06T09:11:25.016" v="1664" actId="1440"/>
          <ac:picMkLst>
            <pc:docMk/>
            <pc:sldMk cId="2531410684" sldId="767"/>
            <ac:picMk id="5" creationId="{804A7342-5EA9-BACE-FEC8-F52398F72C24}"/>
          </ac:picMkLst>
        </pc:picChg>
      </pc:sldChg>
      <pc:sldChg chg="add modTransition">
        <pc:chgData name="Thomas Stensitzki" userId="75cafe6b-2f2a-469b-85c4-eec3b9c972ba" providerId="ADAL" clId="{38265734-310D-45C8-99C3-9326DBD1A9F5}" dt="2023-07-06T09:12:47.870" v="1675"/>
        <pc:sldMkLst>
          <pc:docMk/>
          <pc:sldMk cId="466978322" sldId="768"/>
        </pc:sldMkLst>
      </pc:sldChg>
      <pc:sldChg chg="addSp delSp modSp add mod modTransition">
        <pc:chgData name="Thomas Stensitzki" userId="75cafe6b-2f2a-469b-85c4-eec3b9c972ba" providerId="ADAL" clId="{38265734-310D-45C8-99C3-9326DBD1A9F5}" dt="2023-07-06T09:12:47.870" v="1675"/>
        <pc:sldMkLst>
          <pc:docMk/>
          <pc:sldMk cId="3413044843" sldId="769"/>
        </pc:sldMkLst>
        <pc:spChg chg="del">
          <ac:chgData name="Thomas Stensitzki" userId="75cafe6b-2f2a-469b-85c4-eec3b9c972ba" providerId="ADAL" clId="{38265734-310D-45C8-99C3-9326DBD1A9F5}" dt="2023-07-06T09:12:15.501" v="1670" actId="478"/>
          <ac:spMkLst>
            <pc:docMk/>
            <pc:sldMk cId="3413044843" sldId="769"/>
            <ac:spMk id="6" creationId="{F8D64169-68E5-6887-9282-25E78AEAC325}"/>
          </ac:spMkLst>
        </pc:spChg>
        <pc:spChg chg="add del">
          <ac:chgData name="Thomas Stensitzki" userId="75cafe6b-2f2a-469b-85c4-eec3b9c972ba" providerId="ADAL" clId="{38265734-310D-45C8-99C3-9326DBD1A9F5}" dt="2023-07-06T09:12:18.468" v="1672" actId="22"/>
          <ac:spMkLst>
            <pc:docMk/>
            <pc:sldMk cId="3413044843" sldId="769"/>
            <ac:spMk id="7" creationId="{6C88EE93-C845-6C9E-4400-AE43A5B0FC21}"/>
          </ac:spMkLst>
        </pc:spChg>
        <pc:picChg chg="del">
          <ac:chgData name="Thomas Stensitzki" userId="75cafe6b-2f2a-469b-85c4-eec3b9c972ba" providerId="ADAL" clId="{38265734-310D-45C8-99C3-9326DBD1A9F5}" dt="2023-07-06T09:12:14.606" v="1669" actId="478"/>
          <ac:picMkLst>
            <pc:docMk/>
            <pc:sldMk cId="3413044843" sldId="769"/>
            <ac:picMk id="5" creationId="{804A7342-5EA9-BACE-FEC8-F52398F72C24}"/>
          </ac:picMkLst>
        </pc:picChg>
        <pc:picChg chg="add mod">
          <ac:chgData name="Thomas Stensitzki" userId="75cafe6b-2f2a-469b-85c4-eec3b9c972ba" providerId="ADAL" clId="{38265734-310D-45C8-99C3-9326DBD1A9F5}" dt="2023-07-06T09:12:33.527" v="1674" actId="14100"/>
          <ac:picMkLst>
            <pc:docMk/>
            <pc:sldMk cId="3413044843" sldId="769"/>
            <ac:picMk id="4098" creationId="{3CB8A4F7-7A2A-770C-21FF-A256E4720E03}"/>
          </ac:picMkLst>
        </pc:picChg>
      </pc:sldChg>
      <pc:sldChg chg="modSp new mod">
        <pc:chgData name="Thomas Stensitzki" userId="75cafe6b-2f2a-469b-85c4-eec3b9c972ba" providerId="ADAL" clId="{38265734-310D-45C8-99C3-9326DBD1A9F5}" dt="2023-07-06T11:28:23.634" v="1729" actId="20577"/>
        <pc:sldMkLst>
          <pc:docMk/>
          <pc:sldMk cId="679298916" sldId="770"/>
        </pc:sldMkLst>
        <pc:spChg chg="mod">
          <ac:chgData name="Thomas Stensitzki" userId="75cafe6b-2f2a-469b-85c4-eec3b9c972ba" providerId="ADAL" clId="{38265734-310D-45C8-99C3-9326DBD1A9F5}" dt="2023-07-06T11:28:23.634" v="1729" actId="20577"/>
          <ac:spMkLst>
            <pc:docMk/>
            <pc:sldMk cId="679298916" sldId="770"/>
            <ac:spMk id="2" creationId="{85452FCA-968B-B860-955D-8E5FBBDEE6BB}"/>
          </ac:spMkLst>
        </pc:spChg>
        <pc:spChg chg="mod">
          <ac:chgData name="Thomas Stensitzki" userId="75cafe6b-2f2a-469b-85c4-eec3b9c972ba" providerId="ADAL" clId="{38265734-310D-45C8-99C3-9326DBD1A9F5}" dt="2023-07-06T11:26:58.702" v="1718"/>
          <ac:spMkLst>
            <pc:docMk/>
            <pc:sldMk cId="679298916" sldId="770"/>
            <ac:spMk id="3" creationId="{FC9FE975-560B-7F8C-CA40-1CB0104E219F}"/>
          </ac:spMkLst>
        </pc:spChg>
      </pc:sldChg>
      <pc:sldChg chg="modSp new mod">
        <pc:chgData name="Thomas Stensitzki" userId="75cafe6b-2f2a-469b-85c4-eec3b9c972ba" providerId="ADAL" clId="{38265734-310D-45C8-99C3-9326DBD1A9F5}" dt="2023-07-06T11:40:51.483" v="1733" actId="20577"/>
        <pc:sldMkLst>
          <pc:docMk/>
          <pc:sldMk cId="1476531" sldId="771"/>
        </pc:sldMkLst>
        <pc:spChg chg="mod">
          <ac:chgData name="Thomas Stensitzki" userId="75cafe6b-2f2a-469b-85c4-eec3b9c972ba" providerId="ADAL" clId="{38265734-310D-45C8-99C3-9326DBD1A9F5}" dt="2023-07-06T11:40:51.483" v="1733" actId="20577"/>
          <ac:spMkLst>
            <pc:docMk/>
            <pc:sldMk cId="1476531" sldId="771"/>
            <ac:spMk id="3" creationId="{693B2707-9A38-03EB-2424-5942ACB67B30}"/>
          </ac:spMkLst>
        </pc:spChg>
      </pc:sldChg>
    </pc:docChg>
  </pc:docChgLst>
  <pc:docChgLst>
    <pc:chgData name="Thomas Stensitzki" userId="75cafe6b-2f2a-469b-85c4-eec3b9c972ba" providerId="ADAL" clId="{BE8F4EE5-CF52-46AD-A386-2ADC59A29254}"/>
    <pc:docChg chg="modSld">
      <pc:chgData name="Thomas Stensitzki" userId="75cafe6b-2f2a-469b-85c4-eec3b9c972ba" providerId="ADAL" clId="{BE8F4EE5-CF52-46AD-A386-2ADC59A29254}" dt="2021-02-04T16:39:39.722" v="6"/>
      <pc:docMkLst>
        <pc:docMk/>
      </pc:docMkLst>
      <pc:sldChg chg="modSp mod">
        <pc:chgData name="Thomas Stensitzki" userId="75cafe6b-2f2a-469b-85c4-eec3b9c972ba" providerId="ADAL" clId="{BE8F4EE5-CF52-46AD-A386-2ADC59A29254}" dt="2021-02-04T16:39:39.722" v="6"/>
        <pc:sldMkLst>
          <pc:docMk/>
          <pc:sldMk cId="2855324227" sldId="257"/>
        </pc:sldMkLst>
        <pc:graphicFrameChg chg="mod modGraphic">
          <ac:chgData name="Thomas Stensitzki" userId="75cafe6b-2f2a-469b-85c4-eec3b9c972ba" providerId="ADAL" clId="{BE8F4EE5-CF52-46AD-A386-2ADC59A29254}" dt="2021-02-04T16:39:39.722" v="6"/>
          <ac:graphicFrameMkLst>
            <pc:docMk/>
            <pc:sldMk cId="2855324227" sldId="257"/>
            <ac:graphicFrameMk id="6" creationId="{0F955DCC-462D-431D-BBDE-26F10687D590}"/>
          </ac:graphicFrameMkLst>
        </pc:graphicFrameChg>
      </pc:sldChg>
    </pc:docChg>
  </pc:docChgLst>
  <pc:docChgLst>
    <pc:chgData name="Thomas Stensitzki" userId="S::thomas.stensitzki@granikos.eu::75cafe6b-2f2a-469b-85c4-eec3b9c972ba" providerId="AD" clId="Web-{9A4CCA33-46F4-1FAD-A33E-B3E115A869B5}"/>
    <pc:docChg chg="addSld modSld sldOrd modSection">
      <pc:chgData name="Thomas Stensitzki" userId="S::thomas.stensitzki@granikos.eu::75cafe6b-2f2a-469b-85c4-eec3b9c972ba" providerId="AD" clId="Web-{9A4CCA33-46F4-1FAD-A33E-B3E115A869B5}" dt="2023-07-05T07:32:39.185" v="21" actId="1076"/>
      <pc:docMkLst>
        <pc:docMk/>
      </pc:docMkLst>
      <pc:sldChg chg="modSp">
        <pc:chgData name="Thomas Stensitzki" userId="S::thomas.stensitzki@granikos.eu::75cafe6b-2f2a-469b-85c4-eec3b9c972ba" providerId="AD" clId="Web-{9A4CCA33-46F4-1FAD-A33E-B3E115A869B5}" dt="2023-07-05T07:30:39.757" v="0" actId="14100"/>
        <pc:sldMkLst>
          <pc:docMk/>
          <pc:sldMk cId="2227487991" sldId="378"/>
        </pc:sldMkLst>
        <pc:spChg chg="mod">
          <ac:chgData name="Thomas Stensitzki" userId="S::thomas.stensitzki@granikos.eu::75cafe6b-2f2a-469b-85c4-eec3b9c972ba" providerId="AD" clId="Web-{9A4CCA33-46F4-1FAD-A33E-B3E115A869B5}" dt="2023-07-05T07:30:39.757" v="0" actId="14100"/>
          <ac:spMkLst>
            <pc:docMk/>
            <pc:sldMk cId="2227487991" sldId="378"/>
            <ac:spMk id="2" creationId="{909DC09D-B9A6-4493-9A72-1CA7ECB1F5CA}"/>
          </ac:spMkLst>
        </pc:spChg>
      </pc:sldChg>
      <pc:sldChg chg="modSp add ord replId">
        <pc:chgData name="Thomas Stensitzki" userId="S::thomas.stensitzki@granikos.eu::75cafe6b-2f2a-469b-85c4-eec3b9c972ba" providerId="AD" clId="Web-{9A4CCA33-46F4-1FAD-A33E-B3E115A869B5}" dt="2023-07-05T07:30:59.852" v="4" actId="14100"/>
        <pc:sldMkLst>
          <pc:docMk/>
          <pc:sldMk cId="3441249704" sldId="756"/>
        </pc:sldMkLst>
        <pc:spChg chg="mod">
          <ac:chgData name="Thomas Stensitzki" userId="S::thomas.stensitzki@granikos.eu::75cafe6b-2f2a-469b-85c4-eec3b9c972ba" providerId="AD" clId="Web-{9A4CCA33-46F4-1FAD-A33E-B3E115A869B5}" dt="2023-07-05T07:30:59.852" v="4" actId="14100"/>
          <ac:spMkLst>
            <pc:docMk/>
            <pc:sldMk cId="3441249704" sldId="756"/>
            <ac:spMk id="2" creationId="{909DC09D-B9A6-4493-9A72-1CA7ECB1F5CA}"/>
          </ac:spMkLst>
        </pc:spChg>
      </pc:sldChg>
      <pc:sldChg chg="modSp add ord replId">
        <pc:chgData name="Thomas Stensitzki" userId="S::thomas.stensitzki@granikos.eu::75cafe6b-2f2a-469b-85c4-eec3b9c972ba" providerId="AD" clId="Web-{9A4CCA33-46F4-1FAD-A33E-B3E115A869B5}" dt="2023-07-05T07:31:17.775" v="7" actId="1076"/>
        <pc:sldMkLst>
          <pc:docMk/>
          <pc:sldMk cId="2120421256" sldId="757"/>
        </pc:sldMkLst>
        <pc:spChg chg="mod">
          <ac:chgData name="Thomas Stensitzki" userId="S::thomas.stensitzki@granikos.eu::75cafe6b-2f2a-469b-85c4-eec3b9c972ba" providerId="AD" clId="Web-{9A4CCA33-46F4-1FAD-A33E-B3E115A869B5}" dt="2023-07-05T07:31:17.775" v="7" actId="1076"/>
          <ac:spMkLst>
            <pc:docMk/>
            <pc:sldMk cId="2120421256" sldId="757"/>
            <ac:spMk id="2" creationId="{909DC09D-B9A6-4493-9A72-1CA7ECB1F5CA}"/>
          </ac:spMkLst>
        </pc:spChg>
      </pc:sldChg>
      <pc:sldChg chg="modSp add ord replId">
        <pc:chgData name="Thomas Stensitzki" userId="S::thomas.stensitzki@granikos.eu::75cafe6b-2f2a-469b-85c4-eec3b9c972ba" providerId="AD" clId="Web-{9A4CCA33-46F4-1FAD-A33E-B3E115A869B5}" dt="2023-07-05T07:31:30.776" v="10" actId="1076"/>
        <pc:sldMkLst>
          <pc:docMk/>
          <pc:sldMk cId="3538299181" sldId="758"/>
        </pc:sldMkLst>
        <pc:spChg chg="mod">
          <ac:chgData name="Thomas Stensitzki" userId="S::thomas.stensitzki@granikos.eu::75cafe6b-2f2a-469b-85c4-eec3b9c972ba" providerId="AD" clId="Web-{9A4CCA33-46F4-1FAD-A33E-B3E115A869B5}" dt="2023-07-05T07:31:30.776" v="10" actId="1076"/>
          <ac:spMkLst>
            <pc:docMk/>
            <pc:sldMk cId="3538299181" sldId="758"/>
            <ac:spMk id="2" creationId="{909DC09D-B9A6-4493-9A72-1CA7ECB1F5CA}"/>
          </ac:spMkLst>
        </pc:spChg>
      </pc:sldChg>
      <pc:sldChg chg="modSp add ord replId">
        <pc:chgData name="Thomas Stensitzki" userId="S::thomas.stensitzki@granikos.eu::75cafe6b-2f2a-469b-85c4-eec3b9c972ba" providerId="AD" clId="Web-{9A4CCA33-46F4-1FAD-A33E-B3E115A869B5}" dt="2023-07-05T07:31:59.840" v="14" actId="14100"/>
        <pc:sldMkLst>
          <pc:docMk/>
          <pc:sldMk cId="2253260559" sldId="759"/>
        </pc:sldMkLst>
        <pc:spChg chg="mod">
          <ac:chgData name="Thomas Stensitzki" userId="S::thomas.stensitzki@granikos.eu::75cafe6b-2f2a-469b-85c4-eec3b9c972ba" providerId="AD" clId="Web-{9A4CCA33-46F4-1FAD-A33E-B3E115A869B5}" dt="2023-07-05T07:31:59.840" v="14" actId="14100"/>
          <ac:spMkLst>
            <pc:docMk/>
            <pc:sldMk cId="2253260559" sldId="759"/>
            <ac:spMk id="2" creationId="{909DC09D-B9A6-4493-9A72-1CA7ECB1F5CA}"/>
          </ac:spMkLst>
        </pc:spChg>
      </pc:sldChg>
      <pc:sldChg chg="modSp add ord replId">
        <pc:chgData name="Thomas Stensitzki" userId="S::thomas.stensitzki@granikos.eu::75cafe6b-2f2a-469b-85c4-eec3b9c972ba" providerId="AD" clId="Web-{9A4CCA33-46F4-1FAD-A33E-B3E115A869B5}" dt="2023-07-05T07:32:17.872" v="18" actId="14100"/>
        <pc:sldMkLst>
          <pc:docMk/>
          <pc:sldMk cId="3932105883" sldId="760"/>
        </pc:sldMkLst>
        <pc:spChg chg="mod">
          <ac:chgData name="Thomas Stensitzki" userId="S::thomas.stensitzki@granikos.eu::75cafe6b-2f2a-469b-85c4-eec3b9c972ba" providerId="AD" clId="Web-{9A4CCA33-46F4-1FAD-A33E-B3E115A869B5}" dt="2023-07-05T07:32:17.872" v="18" actId="14100"/>
          <ac:spMkLst>
            <pc:docMk/>
            <pc:sldMk cId="3932105883" sldId="760"/>
            <ac:spMk id="2" creationId="{909DC09D-B9A6-4493-9A72-1CA7ECB1F5CA}"/>
          </ac:spMkLst>
        </pc:spChg>
      </pc:sldChg>
      <pc:sldChg chg="modSp add ord replId">
        <pc:chgData name="Thomas Stensitzki" userId="S::thomas.stensitzki@granikos.eu::75cafe6b-2f2a-469b-85c4-eec3b9c972ba" providerId="AD" clId="Web-{9A4CCA33-46F4-1FAD-A33E-B3E115A869B5}" dt="2023-07-05T07:32:39.185" v="21" actId="1076"/>
        <pc:sldMkLst>
          <pc:docMk/>
          <pc:sldMk cId="3362652068" sldId="761"/>
        </pc:sldMkLst>
        <pc:spChg chg="mod">
          <ac:chgData name="Thomas Stensitzki" userId="S::thomas.stensitzki@granikos.eu::75cafe6b-2f2a-469b-85c4-eec3b9c972ba" providerId="AD" clId="Web-{9A4CCA33-46F4-1FAD-A33E-B3E115A869B5}" dt="2023-07-05T07:32:39.185" v="21" actId="1076"/>
          <ac:spMkLst>
            <pc:docMk/>
            <pc:sldMk cId="3362652068" sldId="761"/>
            <ac:spMk id="2" creationId="{909DC09D-B9A6-4493-9A72-1CA7ECB1F5CA}"/>
          </ac:spMkLst>
        </pc:spChg>
      </pc:sldChg>
    </pc:docChg>
  </pc:docChgLst>
  <pc:docChgLst>
    <pc:chgData name="Thomas Stensitzki" userId="75cafe6b-2f2a-469b-85c4-eec3b9c972ba" providerId="ADAL" clId="{04798C56-1619-44FF-99CC-951BCBEDA3B6}"/>
    <pc:docChg chg="undo custSel addSld delSld modSld sldOrd addSection modSection">
      <pc:chgData name="Thomas Stensitzki" userId="75cafe6b-2f2a-469b-85c4-eec3b9c972ba" providerId="ADAL" clId="{04798C56-1619-44FF-99CC-951BCBEDA3B6}" dt="2021-10-24T11:56:50.744" v="5141" actId="20577"/>
      <pc:docMkLst>
        <pc:docMk/>
      </pc:docMkLst>
      <pc:sldChg chg="modSp mod">
        <pc:chgData name="Thomas Stensitzki" userId="75cafe6b-2f2a-469b-85c4-eec3b9c972ba" providerId="ADAL" clId="{04798C56-1619-44FF-99CC-951BCBEDA3B6}" dt="2021-10-16T08:06:48.501" v="11" actId="20577"/>
        <pc:sldMkLst>
          <pc:docMk/>
          <pc:sldMk cId="671489701" sldId="256"/>
        </pc:sldMkLst>
        <pc:spChg chg="mod">
          <ac:chgData name="Thomas Stensitzki" userId="75cafe6b-2f2a-469b-85c4-eec3b9c972ba" providerId="ADAL" clId="{04798C56-1619-44FF-99CC-951BCBEDA3B6}" dt="2021-10-16T08:06:48.501" v="11" actId="20577"/>
          <ac:spMkLst>
            <pc:docMk/>
            <pc:sldMk cId="671489701" sldId="256"/>
            <ac:spMk id="3" creationId="{CBA95633-B02D-4A15-A8B1-A38E0A70FD27}"/>
          </ac:spMkLst>
        </pc:spChg>
      </pc:sldChg>
      <pc:sldChg chg="modSp mod">
        <pc:chgData name="Thomas Stensitzki" userId="75cafe6b-2f2a-469b-85c4-eec3b9c972ba" providerId="ADAL" clId="{04798C56-1619-44FF-99CC-951BCBEDA3B6}" dt="2021-10-21T13:06:10.613" v="4427"/>
        <pc:sldMkLst>
          <pc:docMk/>
          <pc:sldMk cId="2855324227" sldId="257"/>
        </pc:sldMkLst>
        <pc:spChg chg="mod">
          <ac:chgData name="Thomas Stensitzki" userId="75cafe6b-2f2a-469b-85c4-eec3b9c972ba" providerId="ADAL" clId="{04798C56-1619-44FF-99CC-951BCBEDA3B6}" dt="2021-10-16T08:07:25.110" v="63" actId="20577"/>
          <ac:spMkLst>
            <pc:docMk/>
            <pc:sldMk cId="2855324227" sldId="257"/>
            <ac:spMk id="5" creationId="{EE6719E1-4DB6-4D58-BA77-937CF975247C}"/>
          </ac:spMkLst>
        </pc:spChg>
        <pc:graphicFrameChg chg="mod modGraphic">
          <ac:chgData name="Thomas Stensitzki" userId="75cafe6b-2f2a-469b-85c4-eec3b9c972ba" providerId="ADAL" clId="{04798C56-1619-44FF-99CC-951BCBEDA3B6}" dt="2021-10-21T13:06:10.613" v="4427"/>
          <ac:graphicFrameMkLst>
            <pc:docMk/>
            <pc:sldMk cId="2855324227" sldId="257"/>
            <ac:graphicFrameMk id="6" creationId="{0F955DCC-462D-431D-BBDE-26F10687D590}"/>
          </ac:graphicFrameMkLst>
        </pc:graphicFrameChg>
      </pc:sldChg>
      <pc:sldChg chg="modSp mod">
        <pc:chgData name="Thomas Stensitzki" userId="75cafe6b-2f2a-469b-85c4-eec3b9c972ba" providerId="ADAL" clId="{04798C56-1619-44FF-99CC-951BCBEDA3B6}" dt="2021-10-21T13:34:15.525" v="5128" actId="20577"/>
        <pc:sldMkLst>
          <pc:docMk/>
          <pc:sldMk cId="3332792154" sldId="258"/>
        </pc:sldMkLst>
        <pc:spChg chg="mod">
          <ac:chgData name="Thomas Stensitzki" userId="75cafe6b-2f2a-469b-85c4-eec3b9c972ba" providerId="ADAL" clId="{04798C56-1619-44FF-99CC-951BCBEDA3B6}" dt="2021-10-21T13:34:15.525" v="5128" actId="20577"/>
          <ac:spMkLst>
            <pc:docMk/>
            <pc:sldMk cId="3332792154" sldId="258"/>
            <ac:spMk id="3" creationId="{3A5A44EB-7FB9-473A-8ED3-C49DDD2E65AB}"/>
          </ac:spMkLst>
        </pc:spChg>
      </pc:sldChg>
      <pc:sldChg chg="delSp mod ord">
        <pc:chgData name="Thomas Stensitzki" userId="75cafe6b-2f2a-469b-85c4-eec3b9c972ba" providerId="ADAL" clId="{04798C56-1619-44FF-99CC-951BCBEDA3B6}" dt="2021-10-21T13:05:33.349" v="4423"/>
        <pc:sldMkLst>
          <pc:docMk/>
          <pc:sldMk cId="2698998357" sldId="260"/>
        </pc:sldMkLst>
        <pc:spChg chg="del">
          <ac:chgData name="Thomas Stensitzki" userId="75cafe6b-2f2a-469b-85c4-eec3b9c972ba" providerId="ADAL" clId="{04798C56-1619-44FF-99CC-951BCBEDA3B6}" dt="2021-10-16T08:29:25.765" v="179" actId="478"/>
          <ac:spMkLst>
            <pc:docMk/>
            <pc:sldMk cId="2698998357" sldId="260"/>
            <ac:spMk id="6" creationId="{AC7B595A-A4C5-4A86-B8F3-29469F0A7A0E}"/>
          </ac:spMkLst>
        </pc:spChg>
      </pc:sldChg>
      <pc:sldChg chg="modSp mod">
        <pc:chgData name="Thomas Stensitzki" userId="75cafe6b-2f2a-469b-85c4-eec3b9c972ba" providerId="ADAL" clId="{04798C56-1619-44FF-99CC-951BCBEDA3B6}" dt="2021-10-24T11:56:50.744" v="5141" actId="20577"/>
        <pc:sldMkLst>
          <pc:docMk/>
          <pc:sldMk cId="4007670073" sldId="268"/>
        </pc:sldMkLst>
        <pc:spChg chg="mod">
          <ac:chgData name="Thomas Stensitzki" userId="75cafe6b-2f2a-469b-85c4-eec3b9c972ba" providerId="ADAL" clId="{04798C56-1619-44FF-99CC-951BCBEDA3B6}" dt="2021-10-24T11:56:50.744" v="5141" actId="20577"/>
          <ac:spMkLst>
            <pc:docMk/>
            <pc:sldMk cId="4007670073" sldId="268"/>
            <ac:spMk id="5" creationId="{F3459BE7-1731-4733-A912-12977C68CFD6}"/>
          </ac:spMkLst>
        </pc:spChg>
      </pc:sldChg>
      <pc:sldChg chg="modSp mod">
        <pc:chgData name="Thomas Stensitzki" userId="75cafe6b-2f2a-469b-85c4-eec3b9c972ba" providerId="ADAL" clId="{04798C56-1619-44FF-99CC-951BCBEDA3B6}" dt="2021-10-18T07:06:30.752" v="4422" actId="6549"/>
        <pc:sldMkLst>
          <pc:docMk/>
          <pc:sldMk cId="2721051844" sldId="269"/>
        </pc:sldMkLst>
        <pc:spChg chg="mod">
          <ac:chgData name="Thomas Stensitzki" userId="75cafe6b-2f2a-469b-85c4-eec3b9c972ba" providerId="ADAL" clId="{04798C56-1619-44FF-99CC-951BCBEDA3B6}" dt="2021-10-18T07:06:30.752" v="4422" actId="6549"/>
          <ac:spMkLst>
            <pc:docMk/>
            <pc:sldMk cId="2721051844" sldId="269"/>
            <ac:spMk id="5" creationId="{C24DACB5-1BEC-4C86-9652-BAFD8DE56FEF}"/>
          </ac:spMkLst>
        </pc:spChg>
      </pc:sldChg>
      <pc:sldChg chg="modSp mod ord">
        <pc:chgData name="Thomas Stensitzki" userId="75cafe6b-2f2a-469b-85c4-eec3b9c972ba" providerId="ADAL" clId="{04798C56-1619-44FF-99CC-951BCBEDA3B6}" dt="2021-10-21T13:05:36.332" v="4424"/>
        <pc:sldMkLst>
          <pc:docMk/>
          <pc:sldMk cId="53967156" sldId="297"/>
        </pc:sldMkLst>
        <pc:spChg chg="mod">
          <ac:chgData name="Thomas Stensitzki" userId="75cafe6b-2f2a-469b-85c4-eec3b9c972ba" providerId="ADAL" clId="{04798C56-1619-44FF-99CC-951BCBEDA3B6}" dt="2021-10-16T08:30:11.002" v="185" actId="6549"/>
          <ac:spMkLst>
            <pc:docMk/>
            <pc:sldMk cId="53967156" sldId="297"/>
            <ac:spMk id="4" creationId="{F3A15CBD-C746-44A3-A4F0-4898CE2F02E6}"/>
          </ac:spMkLst>
        </pc:spChg>
        <pc:spChg chg="mod">
          <ac:chgData name="Thomas Stensitzki" userId="75cafe6b-2f2a-469b-85c4-eec3b9c972ba" providerId="ADAL" clId="{04798C56-1619-44FF-99CC-951BCBEDA3B6}" dt="2021-10-16T08:30:33.213" v="195" actId="6549"/>
          <ac:spMkLst>
            <pc:docMk/>
            <pc:sldMk cId="53967156" sldId="297"/>
            <ac:spMk id="5" creationId="{F3459BE7-1731-4733-A912-12977C68CFD6}"/>
          </ac:spMkLst>
        </pc:spChg>
      </pc:sldChg>
      <pc:sldChg chg="modSp del modAnim">
        <pc:chgData name="Thomas Stensitzki" userId="75cafe6b-2f2a-469b-85c4-eec3b9c972ba" providerId="ADAL" clId="{04798C56-1619-44FF-99CC-951BCBEDA3B6}" dt="2021-10-21T13:33:34.479" v="5107" actId="47"/>
        <pc:sldMkLst>
          <pc:docMk/>
          <pc:sldMk cId="222169851" sldId="312"/>
        </pc:sldMkLst>
        <pc:spChg chg="mod">
          <ac:chgData name="Thomas Stensitzki" userId="75cafe6b-2f2a-469b-85c4-eec3b9c972ba" providerId="ADAL" clId="{04798C56-1619-44FF-99CC-951BCBEDA3B6}" dt="2021-10-21T13:22:22.075" v="4490" actId="20577"/>
          <ac:spMkLst>
            <pc:docMk/>
            <pc:sldMk cId="222169851" sldId="312"/>
            <ac:spMk id="4" creationId="{7B30EE16-D925-417D-89E0-E0CFDA2C14B8}"/>
          </ac:spMkLst>
        </pc:spChg>
        <pc:spChg chg="mod">
          <ac:chgData name="Thomas Stensitzki" userId="75cafe6b-2f2a-469b-85c4-eec3b9c972ba" providerId="ADAL" clId="{04798C56-1619-44FF-99CC-951BCBEDA3B6}" dt="2021-10-21T13:28:58.491" v="4803" actId="20577"/>
          <ac:spMkLst>
            <pc:docMk/>
            <pc:sldMk cId="222169851" sldId="312"/>
            <ac:spMk id="5" creationId="{E4B561B6-C0CF-43D8-8BC7-F305B96C47C8}"/>
          </ac:spMkLst>
        </pc:spChg>
      </pc:sldChg>
      <pc:sldChg chg="modSp del mod">
        <pc:chgData name="Thomas Stensitzki" userId="75cafe6b-2f2a-469b-85c4-eec3b9c972ba" providerId="ADAL" clId="{04798C56-1619-44FF-99CC-951BCBEDA3B6}" dt="2021-10-16T08:53:15.876" v="252" actId="47"/>
        <pc:sldMkLst>
          <pc:docMk/>
          <pc:sldMk cId="3298503951" sldId="372"/>
        </pc:sldMkLst>
        <pc:spChg chg="mod">
          <ac:chgData name="Thomas Stensitzki" userId="75cafe6b-2f2a-469b-85c4-eec3b9c972ba" providerId="ADAL" clId="{04798C56-1619-44FF-99CC-951BCBEDA3B6}" dt="2021-10-16T08:52:50.564" v="250" actId="1076"/>
          <ac:spMkLst>
            <pc:docMk/>
            <pc:sldMk cId="3298503951" sldId="372"/>
            <ac:spMk id="2" creationId="{909DC09D-B9A6-4493-9A72-1CA7ECB1F5CA}"/>
          </ac:spMkLst>
        </pc:spChg>
      </pc:sldChg>
      <pc:sldChg chg="modSp mod">
        <pc:chgData name="Thomas Stensitzki" userId="75cafe6b-2f2a-469b-85c4-eec3b9c972ba" providerId="ADAL" clId="{04798C56-1619-44FF-99CC-951BCBEDA3B6}" dt="2021-10-18T06:50:38.860" v="3514" actId="14100"/>
        <pc:sldMkLst>
          <pc:docMk/>
          <pc:sldMk cId="2227487991" sldId="378"/>
        </pc:sldMkLst>
        <pc:spChg chg="mod">
          <ac:chgData name="Thomas Stensitzki" userId="75cafe6b-2f2a-469b-85c4-eec3b9c972ba" providerId="ADAL" clId="{04798C56-1619-44FF-99CC-951BCBEDA3B6}" dt="2021-10-18T06:50:38.860" v="3514" actId="14100"/>
          <ac:spMkLst>
            <pc:docMk/>
            <pc:sldMk cId="2227487991" sldId="378"/>
            <ac:spMk id="2" creationId="{909DC09D-B9A6-4493-9A72-1CA7ECB1F5CA}"/>
          </ac:spMkLst>
        </pc:spChg>
        <pc:spChg chg="mod">
          <ac:chgData name="Thomas Stensitzki" userId="75cafe6b-2f2a-469b-85c4-eec3b9c972ba" providerId="ADAL" clId="{04798C56-1619-44FF-99CC-951BCBEDA3B6}" dt="2021-10-16T09:06:08.755" v="275" actId="20577"/>
          <ac:spMkLst>
            <pc:docMk/>
            <pc:sldMk cId="2227487991" sldId="378"/>
            <ac:spMk id="4" creationId="{D12969B4-351A-4517-A5B8-3E6AD9CDB206}"/>
          </ac:spMkLst>
        </pc:spChg>
        <pc:spChg chg="mod">
          <ac:chgData name="Thomas Stensitzki" userId="75cafe6b-2f2a-469b-85c4-eec3b9c972ba" providerId="ADAL" clId="{04798C56-1619-44FF-99CC-951BCBEDA3B6}" dt="2021-10-16T11:37:02.088" v="3118" actId="20577"/>
          <ac:spMkLst>
            <pc:docMk/>
            <pc:sldMk cId="2227487991" sldId="378"/>
            <ac:spMk id="5" creationId="{C24DACB5-1BEC-4C86-9652-BAFD8DE56FEF}"/>
          </ac:spMkLst>
        </pc:spChg>
      </pc:sldChg>
      <pc:sldChg chg="del">
        <pc:chgData name="Thomas Stensitzki" userId="75cafe6b-2f2a-469b-85c4-eec3b9c972ba" providerId="ADAL" clId="{04798C56-1619-44FF-99CC-951BCBEDA3B6}" dt="2021-10-16T08:52:41.648" v="249" actId="47"/>
        <pc:sldMkLst>
          <pc:docMk/>
          <pc:sldMk cId="2708846828" sldId="392"/>
        </pc:sldMkLst>
      </pc:sldChg>
      <pc:sldChg chg="del">
        <pc:chgData name="Thomas Stensitzki" userId="75cafe6b-2f2a-469b-85c4-eec3b9c972ba" providerId="ADAL" clId="{04798C56-1619-44FF-99CC-951BCBEDA3B6}" dt="2021-10-16T08:53:12.649" v="251" actId="47"/>
        <pc:sldMkLst>
          <pc:docMk/>
          <pc:sldMk cId="403790565" sldId="492"/>
        </pc:sldMkLst>
      </pc:sldChg>
      <pc:sldChg chg="del">
        <pc:chgData name="Thomas Stensitzki" userId="75cafe6b-2f2a-469b-85c4-eec3b9c972ba" providerId="ADAL" clId="{04798C56-1619-44FF-99CC-951BCBEDA3B6}" dt="2021-10-16T08:52:30.817" v="248" actId="47"/>
        <pc:sldMkLst>
          <pc:docMk/>
          <pc:sldMk cId="2819505311" sldId="493"/>
        </pc:sldMkLst>
      </pc:sldChg>
      <pc:sldChg chg="del">
        <pc:chgData name="Thomas Stensitzki" userId="75cafe6b-2f2a-469b-85c4-eec3b9c972ba" providerId="ADAL" clId="{04798C56-1619-44FF-99CC-951BCBEDA3B6}" dt="2021-10-16T08:53:12.649" v="251" actId="47"/>
        <pc:sldMkLst>
          <pc:docMk/>
          <pc:sldMk cId="900203790" sldId="494"/>
        </pc:sldMkLst>
      </pc:sldChg>
      <pc:sldChg chg="del">
        <pc:chgData name="Thomas Stensitzki" userId="75cafe6b-2f2a-469b-85c4-eec3b9c972ba" providerId="ADAL" clId="{04798C56-1619-44FF-99CC-951BCBEDA3B6}" dt="2021-10-16T08:53:12.649" v="251" actId="47"/>
        <pc:sldMkLst>
          <pc:docMk/>
          <pc:sldMk cId="2871162903" sldId="495"/>
        </pc:sldMkLst>
      </pc:sldChg>
      <pc:sldChg chg="del">
        <pc:chgData name="Thomas Stensitzki" userId="75cafe6b-2f2a-469b-85c4-eec3b9c972ba" providerId="ADAL" clId="{04798C56-1619-44FF-99CC-951BCBEDA3B6}" dt="2021-10-16T08:53:15.876" v="252" actId="47"/>
        <pc:sldMkLst>
          <pc:docMk/>
          <pc:sldMk cId="503783842" sldId="496"/>
        </pc:sldMkLst>
      </pc:sldChg>
      <pc:sldChg chg="del">
        <pc:chgData name="Thomas Stensitzki" userId="75cafe6b-2f2a-469b-85c4-eec3b9c972ba" providerId="ADAL" clId="{04798C56-1619-44FF-99CC-951BCBEDA3B6}" dt="2021-10-16T08:52:30.817" v="248" actId="47"/>
        <pc:sldMkLst>
          <pc:docMk/>
          <pc:sldMk cId="1558837248" sldId="497"/>
        </pc:sldMkLst>
      </pc:sldChg>
      <pc:sldChg chg="del">
        <pc:chgData name="Thomas Stensitzki" userId="75cafe6b-2f2a-469b-85c4-eec3b9c972ba" providerId="ADAL" clId="{04798C56-1619-44FF-99CC-951BCBEDA3B6}" dt="2021-10-16T08:52:30.817" v="248" actId="47"/>
        <pc:sldMkLst>
          <pc:docMk/>
          <pc:sldMk cId="4139680906" sldId="498"/>
        </pc:sldMkLst>
      </pc:sldChg>
      <pc:sldChg chg="del">
        <pc:chgData name="Thomas Stensitzki" userId="75cafe6b-2f2a-469b-85c4-eec3b9c972ba" providerId="ADAL" clId="{04798C56-1619-44FF-99CC-951BCBEDA3B6}" dt="2021-10-16T08:53:15.876" v="252" actId="47"/>
        <pc:sldMkLst>
          <pc:docMk/>
          <pc:sldMk cId="1091876782" sldId="499"/>
        </pc:sldMkLst>
      </pc:sldChg>
      <pc:sldChg chg="del">
        <pc:chgData name="Thomas Stensitzki" userId="75cafe6b-2f2a-469b-85c4-eec3b9c972ba" providerId="ADAL" clId="{04798C56-1619-44FF-99CC-951BCBEDA3B6}" dt="2021-10-16T08:52:30.817" v="248" actId="47"/>
        <pc:sldMkLst>
          <pc:docMk/>
          <pc:sldMk cId="3233405587" sldId="500"/>
        </pc:sldMkLst>
      </pc:sldChg>
      <pc:sldChg chg="del">
        <pc:chgData name="Thomas Stensitzki" userId="75cafe6b-2f2a-469b-85c4-eec3b9c972ba" providerId="ADAL" clId="{04798C56-1619-44FF-99CC-951BCBEDA3B6}" dt="2021-10-16T08:53:12.649" v="251" actId="47"/>
        <pc:sldMkLst>
          <pc:docMk/>
          <pc:sldMk cId="1828632953" sldId="501"/>
        </pc:sldMkLst>
      </pc:sldChg>
      <pc:sldChg chg="del">
        <pc:chgData name="Thomas Stensitzki" userId="75cafe6b-2f2a-469b-85c4-eec3b9c972ba" providerId="ADAL" clId="{04798C56-1619-44FF-99CC-951BCBEDA3B6}" dt="2021-10-16T08:53:12.649" v="251" actId="47"/>
        <pc:sldMkLst>
          <pc:docMk/>
          <pc:sldMk cId="705434850" sldId="502"/>
        </pc:sldMkLst>
      </pc:sldChg>
      <pc:sldChg chg="del">
        <pc:chgData name="Thomas Stensitzki" userId="75cafe6b-2f2a-469b-85c4-eec3b9c972ba" providerId="ADAL" clId="{04798C56-1619-44FF-99CC-951BCBEDA3B6}" dt="2021-10-16T08:53:12.649" v="251" actId="47"/>
        <pc:sldMkLst>
          <pc:docMk/>
          <pc:sldMk cId="2116552428" sldId="503"/>
        </pc:sldMkLst>
      </pc:sldChg>
      <pc:sldChg chg="del">
        <pc:chgData name="Thomas Stensitzki" userId="75cafe6b-2f2a-469b-85c4-eec3b9c972ba" providerId="ADAL" clId="{04798C56-1619-44FF-99CC-951BCBEDA3B6}" dt="2021-10-16T08:53:12.649" v="251" actId="47"/>
        <pc:sldMkLst>
          <pc:docMk/>
          <pc:sldMk cId="2167590192" sldId="504"/>
        </pc:sldMkLst>
      </pc:sldChg>
      <pc:sldChg chg="del">
        <pc:chgData name="Thomas Stensitzki" userId="75cafe6b-2f2a-469b-85c4-eec3b9c972ba" providerId="ADAL" clId="{04798C56-1619-44FF-99CC-951BCBEDA3B6}" dt="2021-10-16T08:53:15.876" v="252" actId="47"/>
        <pc:sldMkLst>
          <pc:docMk/>
          <pc:sldMk cId="2730644169" sldId="505"/>
        </pc:sldMkLst>
      </pc:sldChg>
      <pc:sldChg chg="del">
        <pc:chgData name="Thomas Stensitzki" userId="75cafe6b-2f2a-469b-85c4-eec3b9c972ba" providerId="ADAL" clId="{04798C56-1619-44FF-99CC-951BCBEDA3B6}" dt="2021-10-16T08:52:30.817" v="248" actId="47"/>
        <pc:sldMkLst>
          <pc:docMk/>
          <pc:sldMk cId="1492262341" sldId="506"/>
        </pc:sldMkLst>
      </pc:sldChg>
      <pc:sldChg chg="del">
        <pc:chgData name="Thomas Stensitzki" userId="75cafe6b-2f2a-469b-85c4-eec3b9c972ba" providerId="ADAL" clId="{04798C56-1619-44FF-99CC-951BCBEDA3B6}" dt="2021-10-16T08:52:30.817" v="248" actId="47"/>
        <pc:sldMkLst>
          <pc:docMk/>
          <pc:sldMk cId="2246989815" sldId="507"/>
        </pc:sldMkLst>
      </pc:sldChg>
      <pc:sldChg chg="del">
        <pc:chgData name="Thomas Stensitzki" userId="75cafe6b-2f2a-469b-85c4-eec3b9c972ba" providerId="ADAL" clId="{04798C56-1619-44FF-99CC-951BCBEDA3B6}" dt="2021-10-16T08:52:30.817" v="248" actId="47"/>
        <pc:sldMkLst>
          <pc:docMk/>
          <pc:sldMk cId="389331669" sldId="508"/>
        </pc:sldMkLst>
      </pc:sldChg>
      <pc:sldChg chg="del">
        <pc:chgData name="Thomas Stensitzki" userId="75cafe6b-2f2a-469b-85c4-eec3b9c972ba" providerId="ADAL" clId="{04798C56-1619-44FF-99CC-951BCBEDA3B6}" dt="2021-10-16T08:52:30.817" v="248" actId="47"/>
        <pc:sldMkLst>
          <pc:docMk/>
          <pc:sldMk cId="3227978394" sldId="509"/>
        </pc:sldMkLst>
      </pc:sldChg>
      <pc:sldChg chg="del">
        <pc:chgData name="Thomas Stensitzki" userId="75cafe6b-2f2a-469b-85c4-eec3b9c972ba" providerId="ADAL" clId="{04798C56-1619-44FF-99CC-951BCBEDA3B6}" dt="2021-10-16T08:52:30.817" v="248" actId="47"/>
        <pc:sldMkLst>
          <pc:docMk/>
          <pc:sldMk cId="222762613" sldId="510"/>
        </pc:sldMkLst>
      </pc:sldChg>
      <pc:sldChg chg="del">
        <pc:chgData name="Thomas Stensitzki" userId="75cafe6b-2f2a-469b-85c4-eec3b9c972ba" providerId="ADAL" clId="{04798C56-1619-44FF-99CC-951BCBEDA3B6}" dt="2021-10-16T08:52:30.817" v="248" actId="47"/>
        <pc:sldMkLst>
          <pc:docMk/>
          <pc:sldMk cId="1154144205" sldId="511"/>
        </pc:sldMkLst>
      </pc:sldChg>
      <pc:sldChg chg="del">
        <pc:chgData name="Thomas Stensitzki" userId="75cafe6b-2f2a-469b-85c4-eec3b9c972ba" providerId="ADAL" clId="{04798C56-1619-44FF-99CC-951BCBEDA3B6}" dt="2021-10-16T08:52:30.817" v="248" actId="47"/>
        <pc:sldMkLst>
          <pc:docMk/>
          <pc:sldMk cId="409371138" sldId="512"/>
        </pc:sldMkLst>
      </pc:sldChg>
      <pc:sldChg chg="addSp delSp modSp new mod modClrScheme chgLayout">
        <pc:chgData name="Thomas Stensitzki" userId="75cafe6b-2f2a-469b-85c4-eec3b9c972ba" providerId="ADAL" clId="{04798C56-1619-44FF-99CC-951BCBEDA3B6}" dt="2021-10-16T08:51:58.903" v="247" actId="1076"/>
        <pc:sldMkLst>
          <pc:docMk/>
          <pc:sldMk cId="2395924320" sldId="514"/>
        </pc:sldMkLst>
        <pc:spChg chg="del mod ord">
          <ac:chgData name="Thomas Stensitzki" userId="75cafe6b-2f2a-469b-85c4-eec3b9c972ba" providerId="ADAL" clId="{04798C56-1619-44FF-99CC-951BCBEDA3B6}" dt="2021-10-16T08:48:19.894" v="219" actId="700"/>
          <ac:spMkLst>
            <pc:docMk/>
            <pc:sldMk cId="2395924320" sldId="514"/>
            <ac:spMk id="2" creationId="{01FB363C-BCA7-43D4-A2C7-94DD6B2716CE}"/>
          </ac:spMkLst>
        </pc:spChg>
        <pc:spChg chg="del">
          <ac:chgData name="Thomas Stensitzki" userId="75cafe6b-2f2a-469b-85c4-eec3b9c972ba" providerId="ADAL" clId="{04798C56-1619-44FF-99CC-951BCBEDA3B6}" dt="2021-10-16T08:48:19.894" v="219" actId="700"/>
          <ac:spMkLst>
            <pc:docMk/>
            <pc:sldMk cId="2395924320" sldId="514"/>
            <ac:spMk id="3" creationId="{4E50326A-442F-4BBC-A63A-E76CCF1A2677}"/>
          </ac:spMkLst>
        </pc:spChg>
        <pc:spChg chg="add mod ord">
          <ac:chgData name="Thomas Stensitzki" userId="75cafe6b-2f2a-469b-85c4-eec3b9c972ba" providerId="ADAL" clId="{04798C56-1619-44FF-99CC-951BCBEDA3B6}" dt="2021-10-16T08:48:19.894" v="219" actId="700"/>
          <ac:spMkLst>
            <pc:docMk/>
            <pc:sldMk cId="2395924320" sldId="514"/>
            <ac:spMk id="4" creationId="{BC4CCBB5-60CA-4E97-BDCF-05CC269D742F}"/>
          </ac:spMkLst>
        </pc:spChg>
        <pc:spChg chg="add mod">
          <ac:chgData name="Thomas Stensitzki" userId="75cafe6b-2f2a-469b-85c4-eec3b9c972ba" providerId="ADAL" clId="{04798C56-1619-44FF-99CC-951BCBEDA3B6}" dt="2021-10-16T08:50:07.144" v="232" actId="14100"/>
          <ac:spMkLst>
            <pc:docMk/>
            <pc:sldMk cId="2395924320" sldId="514"/>
            <ac:spMk id="7" creationId="{AC653FA9-1AB6-49AB-B58A-9D12BB4A4394}"/>
          </ac:spMkLst>
        </pc:spChg>
        <pc:spChg chg="add del mod">
          <ac:chgData name="Thomas Stensitzki" userId="75cafe6b-2f2a-469b-85c4-eec3b9c972ba" providerId="ADAL" clId="{04798C56-1619-44FF-99CC-951BCBEDA3B6}" dt="2021-10-16T08:50:45.666" v="238" actId="22"/>
          <ac:spMkLst>
            <pc:docMk/>
            <pc:sldMk cId="2395924320" sldId="514"/>
            <ac:spMk id="9" creationId="{40C187F2-C573-4CA5-B9DB-398D9EA0C398}"/>
          </ac:spMkLst>
        </pc:spChg>
        <pc:spChg chg="add mod">
          <ac:chgData name="Thomas Stensitzki" userId="75cafe6b-2f2a-469b-85c4-eec3b9c972ba" providerId="ADAL" clId="{04798C56-1619-44FF-99CC-951BCBEDA3B6}" dt="2021-10-16T08:51:58.903" v="247" actId="1076"/>
          <ac:spMkLst>
            <pc:docMk/>
            <pc:sldMk cId="2395924320" sldId="514"/>
            <ac:spMk id="11" creationId="{DBAF0D92-4F5B-43B3-858F-5EAB5EC10308}"/>
          </ac:spMkLst>
        </pc:spChg>
        <pc:picChg chg="add mod">
          <ac:chgData name="Thomas Stensitzki" userId="75cafe6b-2f2a-469b-85c4-eec3b9c972ba" providerId="ADAL" clId="{04798C56-1619-44FF-99CC-951BCBEDA3B6}" dt="2021-10-16T08:49:01.526" v="227" actId="1440"/>
          <ac:picMkLst>
            <pc:docMk/>
            <pc:sldMk cId="2395924320" sldId="514"/>
            <ac:picMk id="6" creationId="{69AC6E8A-ECCC-4CAE-8164-9F3F87C4F2D6}"/>
          </ac:picMkLst>
        </pc:picChg>
      </pc:sldChg>
      <pc:sldChg chg="addSp delSp modSp add mod ord">
        <pc:chgData name="Thomas Stensitzki" userId="75cafe6b-2f2a-469b-85c4-eec3b9c972ba" providerId="ADAL" clId="{04798C56-1619-44FF-99CC-951BCBEDA3B6}" dt="2021-10-18T07:00:13.981" v="4091" actId="14100"/>
        <pc:sldMkLst>
          <pc:docMk/>
          <pc:sldMk cId="3797754622" sldId="515"/>
        </pc:sldMkLst>
        <pc:spChg chg="mod">
          <ac:chgData name="Thomas Stensitzki" userId="75cafe6b-2f2a-469b-85c4-eec3b9c972ba" providerId="ADAL" clId="{04798C56-1619-44FF-99CC-951BCBEDA3B6}" dt="2021-10-18T07:00:13.981" v="4091" actId="14100"/>
          <ac:spMkLst>
            <pc:docMk/>
            <pc:sldMk cId="3797754622" sldId="515"/>
            <ac:spMk id="2" creationId="{909DC09D-B9A6-4493-9A72-1CA7ECB1F5CA}"/>
          </ac:spMkLst>
        </pc:spChg>
        <pc:spChg chg="mod">
          <ac:chgData name="Thomas Stensitzki" userId="75cafe6b-2f2a-469b-85c4-eec3b9c972ba" providerId="ADAL" clId="{04798C56-1619-44FF-99CC-951BCBEDA3B6}" dt="2021-10-16T09:06:00.255" v="265" actId="20577"/>
          <ac:spMkLst>
            <pc:docMk/>
            <pc:sldMk cId="3797754622" sldId="515"/>
            <ac:spMk id="4" creationId="{D12969B4-351A-4517-A5B8-3E6AD9CDB206}"/>
          </ac:spMkLst>
        </pc:spChg>
        <pc:spChg chg="mod">
          <ac:chgData name="Thomas Stensitzki" userId="75cafe6b-2f2a-469b-85c4-eec3b9c972ba" providerId="ADAL" clId="{04798C56-1619-44FF-99CC-951BCBEDA3B6}" dt="2021-10-16T11:37:25.797" v="3122" actId="20577"/>
          <ac:spMkLst>
            <pc:docMk/>
            <pc:sldMk cId="3797754622" sldId="515"/>
            <ac:spMk id="5" creationId="{C24DACB5-1BEC-4C86-9652-BAFD8DE56FEF}"/>
          </ac:spMkLst>
        </pc:spChg>
        <pc:spChg chg="add del">
          <ac:chgData name="Thomas Stensitzki" userId="75cafe6b-2f2a-469b-85c4-eec3b9c972ba" providerId="ADAL" clId="{04798C56-1619-44FF-99CC-951BCBEDA3B6}" dt="2021-10-16T09:07:15.720" v="289" actId="22"/>
          <ac:spMkLst>
            <pc:docMk/>
            <pc:sldMk cId="3797754622" sldId="515"/>
            <ac:spMk id="6" creationId="{D11E1C29-625B-4233-A181-BC1380056693}"/>
          </ac:spMkLst>
        </pc:spChg>
      </pc:sldChg>
      <pc:sldChg chg="addSp modSp new mod modAnim">
        <pc:chgData name="Thomas Stensitzki" userId="75cafe6b-2f2a-469b-85c4-eec3b9c972ba" providerId="ADAL" clId="{04798C56-1619-44FF-99CC-951BCBEDA3B6}" dt="2021-10-18T07:00:48.371" v="4132"/>
        <pc:sldMkLst>
          <pc:docMk/>
          <pc:sldMk cId="2712056554" sldId="516"/>
        </pc:sldMkLst>
        <pc:spChg chg="mod">
          <ac:chgData name="Thomas Stensitzki" userId="75cafe6b-2f2a-469b-85c4-eec3b9c972ba" providerId="ADAL" clId="{04798C56-1619-44FF-99CC-951BCBEDA3B6}" dt="2021-10-16T09:10:53.320" v="392"/>
          <ac:spMkLst>
            <pc:docMk/>
            <pc:sldMk cId="2712056554" sldId="516"/>
            <ac:spMk id="2" creationId="{F884F3B4-BE70-4584-85CE-8207FCF82B50}"/>
          </ac:spMkLst>
        </pc:spChg>
        <pc:spChg chg="mod">
          <ac:chgData name="Thomas Stensitzki" userId="75cafe6b-2f2a-469b-85c4-eec3b9c972ba" providerId="ADAL" clId="{04798C56-1619-44FF-99CC-951BCBEDA3B6}" dt="2021-10-16T09:13:57.657" v="501" actId="20577"/>
          <ac:spMkLst>
            <pc:docMk/>
            <pc:sldMk cId="2712056554" sldId="516"/>
            <ac:spMk id="3" creationId="{A07B2357-9CF7-41EB-B7DA-519817A3BA59}"/>
          </ac:spMkLst>
        </pc:spChg>
        <pc:picChg chg="add mod">
          <ac:chgData name="Thomas Stensitzki" userId="75cafe6b-2f2a-469b-85c4-eec3b9c972ba" providerId="ADAL" clId="{04798C56-1619-44FF-99CC-951BCBEDA3B6}" dt="2021-10-16T09:12:13.968" v="477" actId="1076"/>
          <ac:picMkLst>
            <pc:docMk/>
            <pc:sldMk cId="2712056554" sldId="516"/>
            <ac:picMk id="4" creationId="{EE4A7BB7-6D9F-4B05-ABAF-258031170F8E}"/>
          </ac:picMkLst>
        </pc:picChg>
        <pc:picChg chg="add mod">
          <ac:chgData name="Thomas Stensitzki" userId="75cafe6b-2f2a-469b-85c4-eec3b9c972ba" providerId="ADAL" clId="{04798C56-1619-44FF-99CC-951BCBEDA3B6}" dt="2021-10-16T09:13:01.534" v="486" actId="14100"/>
          <ac:picMkLst>
            <pc:docMk/>
            <pc:sldMk cId="2712056554" sldId="516"/>
            <ac:picMk id="5" creationId="{60C5CCFD-7218-458F-B770-0C937F31B6DD}"/>
          </ac:picMkLst>
        </pc:picChg>
        <pc:picChg chg="add mod">
          <ac:chgData name="Thomas Stensitzki" userId="75cafe6b-2f2a-469b-85c4-eec3b9c972ba" providerId="ADAL" clId="{04798C56-1619-44FF-99CC-951BCBEDA3B6}" dt="2021-10-16T09:13:15.236" v="489" actId="1440"/>
          <ac:picMkLst>
            <pc:docMk/>
            <pc:sldMk cId="2712056554" sldId="516"/>
            <ac:picMk id="1026" creationId="{61DD7B04-A79F-47EE-9FA3-1EF3BAF2549A}"/>
          </ac:picMkLst>
        </pc:picChg>
      </pc:sldChg>
      <pc:sldChg chg="modSp new mod">
        <pc:chgData name="Thomas Stensitzki" userId="75cafe6b-2f2a-469b-85c4-eec3b9c972ba" providerId="ADAL" clId="{04798C56-1619-44FF-99CC-951BCBEDA3B6}" dt="2021-10-16T10:11:35.711" v="1477" actId="114"/>
        <pc:sldMkLst>
          <pc:docMk/>
          <pc:sldMk cId="2592263701" sldId="517"/>
        </pc:sldMkLst>
        <pc:spChg chg="mod">
          <ac:chgData name="Thomas Stensitzki" userId="75cafe6b-2f2a-469b-85c4-eec3b9c972ba" providerId="ADAL" clId="{04798C56-1619-44FF-99CC-951BCBEDA3B6}" dt="2021-10-16T09:30:04.338" v="551"/>
          <ac:spMkLst>
            <pc:docMk/>
            <pc:sldMk cId="2592263701" sldId="517"/>
            <ac:spMk id="2" creationId="{02873501-8633-41AE-A717-D3437F3C8D38}"/>
          </ac:spMkLst>
        </pc:spChg>
        <pc:spChg chg="mod">
          <ac:chgData name="Thomas Stensitzki" userId="75cafe6b-2f2a-469b-85c4-eec3b9c972ba" providerId="ADAL" clId="{04798C56-1619-44FF-99CC-951BCBEDA3B6}" dt="2021-10-16T10:11:35.711" v="1477" actId="114"/>
          <ac:spMkLst>
            <pc:docMk/>
            <pc:sldMk cId="2592263701" sldId="517"/>
            <ac:spMk id="3" creationId="{10D05E72-139E-4F93-9CF2-E461F306D3F4}"/>
          </ac:spMkLst>
        </pc:spChg>
      </pc:sldChg>
      <pc:sldChg chg="addSp delSp modSp new mod modAnim">
        <pc:chgData name="Thomas Stensitzki" userId="75cafe6b-2f2a-469b-85c4-eec3b9c972ba" providerId="ADAL" clId="{04798C56-1619-44FF-99CC-951BCBEDA3B6}" dt="2021-10-21T13:17:02.352" v="4448"/>
        <pc:sldMkLst>
          <pc:docMk/>
          <pc:sldMk cId="2691419104" sldId="518"/>
        </pc:sldMkLst>
        <pc:spChg chg="mod">
          <ac:chgData name="Thomas Stensitzki" userId="75cafe6b-2f2a-469b-85c4-eec3b9c972ba" providerId="ADAL" clId="{04798C56-1619-44FF-99CC-951BCBEDA3B6}" dt="2021-10-16T10:11:43.045" v="1498" actId="6549"/>
          <ac:spMkLst>
            <pc:docMk/>
            <pc:sldMk cId="2691419104" sldId="518"/>
            <ac:spMk id="2" creationId="{A47CE3D6-ACC4-4E98-8DA1-C7BC6FCDF7B9}"/>
          </ac:spMkLst>
        </pc:spChg>
        <pc:spChg chg="del">
          <ac:chgData name="Thomas Stensitzki" userId="75cafe6b-2f2a-469b-85c4-eec3b9c972ba" providerId="ADAL" clId="{04798C56-1619-44FF-99CC-951BCBEDA3B6}" dt="2021-10-16T09:45:53.303" v="581" actId="1032"/>
          <ac:spMkLst>
            <pc:docMk/>
            <pc:sldMk cId="2691419104" sldId="518"/>
            <ac:spMk id="3" creationId="{501241C8-CCBC-4F03-871B-75142A5CB54C}"/>
          </ac:spMkLst>
        </pc:spChg>
        <pc:spChg chg="add del mod">
          <ac:chgData name="Thomas Stensitzki" userId="75cafe6b-2f2a-469b-85c4-eec3b9c972ba" providerId="ADAL" clId="{04798C56-1619-44FF-99CC-951BCBEDA3B6}" dt="2021-10-16T10:07:41.388" v="1369" actId="11529"/>
          <ac:spMkLst>
            <pc:docMk/>
            <pc:sldMk cId="2691419104" sldId="518"/>
            <ac:spMk id="5" creationId="{83B9018F-CC53-4B54-976E-6EF789BC3E14}"/>
          </ac:spMkLst>
        </pc:spChg>
        <pc:spChg chg="add mod">
          <ac:chgData name="Thomas Stensitzki" userId="75cafe6b-2f2a-469b-85c4-eec3b9c972ba" providerId="ADAL" clId="{04798C56-1619-44FF-99CC-951BCBEDA3B6}" dt="2021-10-16T10:08:25.342" v="1383" actId="1076"/>
          <ac:spMkLst>
            <pc:docMk/>
            <pc:sldMk cId="2691419104" sldId="518"/>
            <ac:spMk id="6" creationId="{7AB9F773-04CA-4DD5-BCA9-88FFD3B0B9C4}"/>
          </ac:spMkLst>
        </pc:spChg>
        <pc:spChg chg="add mod">
          <ac:chgData name="Thomas Stensitzki" userId="75cafe6b-2f2a-469b-85c4-eec3b9c972ba" providerId="ADAL" clId="{04798C56-1619-44FF-99CC-951BCBEDA3B6}" dt="2021-10-16T10:08:37.455" v="1387" actId="6549"/>
          <ac:spMkLst>
            <pc:docMk/>
            <pc:sldMk cId="2691419104" sldId="518"/>
            <ac:spMk id="7" creationId="{0CD5DC5C-74CA-4EDA-9671-68CC7AD71556}"/>
          </ac:spMkLst>
        </pc:spChg>
        <pc:spChg chg="add mod">
          <ac:chgData name="Thomas Stensitzki" userId="75cafe6b-2f2a-469b-85c4-eec3b9c972ba" providerId="ADAL" clId="{04798C56-1619-44FF-99CC-951BCBEDA3B6}" dt="2021-10-16T10:08:48.758" v="1391" actId="6549"/>
          <ac:spMkLst>
            <pc:docMk/>
            <pc:sldMk cId="2691419104" sldId="518"/>
            <ac:spMk id="8" creationId="{C9B36C8D-8A39-40DD-B2C4-DDEB9D759FA0}"/>
          </ac:spMkLst>
        </pc:spChg>
        <pc:spChg chg="add mod">
          <ac:chgData name="Thomas Stensitzki" userId="75cafe6b-2f2a-469b-85c4-eec3b9c972ba" providerId="ADAL" clId="{04798C56-1619-44FF-99CC-951BCBEDA3B6}" dt="2021-10-16T10:09:18.980" v="1397" actId="20577"/>
          <ac:spMkLst>
            <pc:docMk/>
            <pc:sldMk cId="2691419104" sldId="518"/>
            <ac:spMk id="9" creationId="{E9BB9833-9F79-4B36-9636-CC4370E7DC8C}"/>
          </ac:spMkLst>
        </pc:spChg>
        <pc:spChg chg="add mod ord">
          <ac:chgData name="Thomas Stensitzki" userId="75cafe6b-2f2a-469b-85c4-eec3b9c972ba" providerId="ADAL" clId="{04798C56-1619-44FF-99CC-951BCBEDA3B6}" dt="2021-10-16T10:14:14.384" v="1505" actId="14100"/>
          <ac:spMkLst>
            <pc:docMk/>
            <pc:sldMk cId="2691419104" sldId="518"/>
            <ac:spMk id="10" creationId="{6A60B348-C845-407F-A247-0A246554E660}"/>
          </ac:spMkLst>
        </pc:spChg>
        <pc:graphicFrameChg chg="add mod modGraphic">
          <ac:chgData name="Thomas Stensitzki" userId="75cafe6b-2f2a-469b-85c4-eec3b9c972ba" providerId="ADAL" clId="{04798C56-1619-44FF-99CC-951BCBEDA3B6}" dt="2021-10-16T10:13:14.175" v="1499"/>
          <ac:graphicFrameMkLst>
            <pc:docMk/>
            <pc:sldMk cId="2691419104" sldId="518"/>
            <ac:graphicFrameMk id="4" creationId="{4AC86CB2-51E8-461A-9CF6-C0B8BF3C67EA}"/>
          </ac:graphicFrameMkLst>
        </pc:graphicFrameChg>
      </pc:sldChg>
      <pc:sldChg chg="addSp delSp modSp new mod">
        <pc:chgData name="Thomas Stensitzki" userId="75cafe6b-2f2a-469b-85c4-eec3b9c972ba" providerId="ADAL" clId="{04798C56-1619-44FF-99CC-951BCBEDA3B6}" dt="2021-10-16T10:16:13.903" v="1524" actId="1582"/>
        <pc:sldMkLst>
          <pc:docMk/>
          <pc:sldMk cId="2239521866" sldId="519"/>
        </pc:sldMkLst>
        <pc:spChg chg="mod">
          <ac:chgData name="Thomas Stensitzki" userId="75cafe6b-2f2a-469b-85c4-eec3b9c972ba" providerId="ADAL" clId="{04798C56-1619-44FF-99CC-951BCBEDA3B6}" dt="2021-10-16T10:15:28.597" v="1517"/>
          <ac:spMkLst>
            <pc:docMk/>
            <pc:sldMk cId="2239521866" sldId="519"/>
            <ac:spMk id="2" creationId="{75913CB6-469C-4453-AEDA-EE717EB96E3C}"/>
          </ac:spMkLst>
        </pc:spChg>
        <pc:spChg chg="del">
          <ac:chgData name="Thomas Stensitzki" userId="75cafe6b-2f2a-469b-85c4-eec3b9c972ba" providerId="ADAL" clId="{04798C56-1619-44FF-99CC-951BCBEDA3B6}" dt="2021-10-16T10:15:31.791" v="1518" actId="478"/>
          <ac:spMkLst>
            <pc:docMk/>
            <pc:sldMk cId="2239521866" sldId="519"/>
            <ac:spMk id="3" creationId="{27077580-231D-40E2-B229-13188EF2803B}"/>
          </ac:spMkLst>
        </pc:spChg>
        <pc:picChg chg="add mod">
          <ac:chgData name="Thomas Stensitzki" userId="75cafe6b-2f2a-469b-85c4-eec3b9c972ba" providerId="ADAL" clId="{04798C56-1619-44FF-99CC-951BCBEDA3B6}" dt="2021-10-16T10:15:55.797" v="1521" actId="1076"/>
          <ac:picMkLst>
            <pc:docMk/>
            <pc:sldMk cId="2239521866" sldId="519"/>
            <ac:picMk id="2050" creationId="{2A5A4F4F-8033-4E40-9E1E-76A41BBF5BF6}"/>
          </ac:picMkLst>
        </pc:picChg>
        <pc:cxnChg chg="add mod">
          <ac:chgData name="Thomas Stensitzki" userId="75cafe6b-2f2a-469b-85c4-eec3b9c972ba" providerId="ADAL" clId="{04798C56-1619-44FF-99CC-951BCBEDA3B6}" dt="2021-10-16T10:16:13.903" v="1524" actId="1582"/>
          <ac:cxnSpMkLst>
            <pc:docMk/>
            <pc:sldMk cId="2239521866" sldId="519"/>
            <ac:cxnSpMk id="5" creationId="{E012D3C3-9366-4C2A-9AB2-13279C03CA18}"/>
          </ac:cxnSpMkLst>
        </pc:cxnChg>
      </pc:sldChg>
      <pc:sldChg chg="addSp delSp modSp new mod">
        <pc:chgData name="Thomas Stensitzki" userId="75cafe6b-2f2a-469b-85c4-eec3b9c972ba" providerId="ADAL" clId="{04798C56-1619-44FF-99CC-951BCBEDA3B6}" dt="2021-10-16T10:20:24.982" v="1626" actId="1440"/>
        <pc:sldMkLst>
          <pc:docMk/>
          <pc:sldMk cId="2023308020" sldId="520"/>
        </pc:sldMkLst>
        <pc:spChg chg="mod">
          <ac:chgData name="Thomas Stensitzki" userId="75cafe6b-2f2a-469b-85c4-eec3b9c972ba" providerId="ADAL" clId="{04798C56-1619-44FF-99CC-951BCBEDA3B6}" dt="2021-10-16T10:18:58.345" v="1602"/>
          <ac:spMkLst>
            <pc:docMk/>
            <pc:sldMk cId="2023308020" sldId="520"/>
            <ac:spMk id="2" creationId="{873A3C1C-26A2-48C4-A072-652CE92B49A4}"/>
          </ac:spMkLst>
        </pc:spChg>
        <pc:spChg chg="del">
          <ac:chgData name="Thomas Stensitzki" userId="75cafe6b-2f2a-469b-85c4-eec3b9c972ba" providerId="ADAL" clId="{04798C56-1619-44FF-99CC-951BCBEDA3B6}" dt="2021-10-16T10:19:08.223" v="1603" actId="478"/>
          <ac:spMkLst>
            <pc:docMk/>
            <pc:sldMk cId="2023308020" sldId="520"/>
            <ac:spMk id="3" creationId="{787E991E-D7FF-420C-A4DB-65DDE4DA2A39}"/>
          </ac:spMkLst>
        </pc:spChg>
        <pc:picChg chg="add mod">
          <ac:chgData name="Thomas Stensitzki" userId="75cafe6b-2f2a-469b-85c4-eec3b9c972ba" providerId="ADAL" clId="{04798C56-1619-44FF-99CC-951BCBEDA3B6}" dt="2021-10-16T10:19:20.010" v="1607" actId="1076"/>
          <ac:picMkLst>
            <pc:docMk/>
            <pc:sldMk cId="2023308020" sldId="520"/>
            <ac:picMk id="3074" creationId="{B7A60345-AAD4-465E-A1C2-3D1747C6575D}"/>
          </ac:picMkLst>
        </pc:picChg>
        <pc:picChg chg="add mod">
          <ac:chgData name="Thomas Stensitzki" userId="75cafe6b-2f2a-469b-85c4-eec3b9c972ba" providerId="ADAL" clId="{04798C56-1619-44FF-99CC-951BCBEDA3B6}" dt="2021-10-16T10:20:14.138" v="1624" actId="1076"/>
          <ac:picMkLst>
            <pc:docMk/>
            <pc:sldMk cId="2023308020" sldId="520"/>
            <ac:picMk id="3076" creationId="{95CF4B3E-C0AD-4948-9F80-F2D7726AF8AB}"/>
          </ac:picMkLst>
        </pc:picChg>
        <pc:picChg chg="add mod">
          <ac:chgData name="Thomas Stensitzki" userId="75cafe6b-2f2a-469b-85c4-eec3b9c972ba" providerId="ADAL" clId="{04798C56-1619-44FF-99CC-951BCBEDA3B6}" dt="2021-10-16T10:20:24.982" v="1626" actId="1440"/>
          <ac:picMkLst>
            <pc:docMk/>
            <pc:sldMk cId="2023308020" sldId="520"/>
            <ac:picMk id="3078" creationId="{1A918997-72EF-46A2-9956-D54C41BC4199}"/>
          </ac:picMkLst>
        </pc:picChg>
        <pc:cxnChg chg="add mod">
          <ac:chgData name="Thomas Stensitzki" userId="75cafe6b-2f2a-469b-85c4-eec3b9c972ba" providerId="ADAL" clId="{04798C56-1619-44FF-99CC-951BCBEDA3B6}" dt="2021-10-16T10:19:44.316" v="1615" actId="14100"/>
          <ac:cxnSpMkLst>
            <pc:docMk/>
            <pc:sldMk cId="2023308020" sldId="520"/>
            <ac:cxnSpMk id="5" creationId="{147FBB7F-95B3-4D9F-B716-41066EEA072D}"/>
          </ac:cxnSpMkLst>
        </pc:cxnChg>
      </pc:sldChg>
      <pc:sldChg chg="addSp delSp modSp new mod modClrScheme chgLayout">
        <pc:chgData name="Thomas Stensitzki" userId="75cafe6b-2f2a-469b-85c4-eec3b9c972ba" providerId="ADAL" clId="{04798C56-1619-44FF-99CC-951BCBEDA3B6}" dt="2021-10-16T10:23:07.401" v="1702" actId="1076"/>
        <pc:sldMkLst>
          <pc:docMk/>
          <pc:sldMk cId="3342197954" sldId="521"/>
        </pc:sldMkLst>
        <pc:spChg chg="del mod ord">
          <ac:chgData name="Thomas Stensitzki" userId="75cafe6b-2f2a-469b-85c4-eec3b9c972ba" providerId="ADAL" clId="{04798C56-1619-44FF-99CC-951BCBEDA3B6}" dt="2021-10-16T10:21:06.137" v="1629" actId="700"/>
          <ac:spMkLst>
            <pc:docMk/>
            <pc:sldMk cId="3342197954" sldId="521"/>
            <ac:spMk id="2" creationId="{1FCC91F0-9F3C-45EB-B6FF-336C851682C6}"/>
          </ac:spMkLst>
        </pc:spChg>
        <pc:spChg chg="del">
          <ac:chgData name="Thomas Stensitzki" userId="75cafe6b-2f2a-469b-85c4-eec3b9c972ba" providerId="ADAL" clId="{04798C56-1619-44FF-99CC-951BCBEDA3B6}" dt="2021-10-16T10:21:06.137" v="1629" actId="700"/>
          <ac:spMkLst>
            <pc:docMk/>
            <pc:sldMk cId="3342197954" sldId="521"/>
            <ac:spMk id="3" creationId="{F2D5539C-F64B-4BBD-8D92-FFBA85D0F45F}"/>
          </ac:spMkLst>
        </pc:spChg>
        <pc:spChg chg="add mod ord">
          <ac:chgData name="Thomas Stensitzki" userId="75cafe6b-2f2a-469b-85c4-eec3b9c972ba" providerId="ADAL" clId="{04798C56-1619-44FF-99CC-951BCBEDA3B6}" dt="2021-10-16T10:21:12.726" v="1631"/>
          <ac:spMkLst>
            <pc:docMk/>
            <pc:sldMk cId="3342197954" sldId="521"/>
            <ac:spMk id="4" creationId="{237778C3-D01E-4605-9275-3F8FEEF77C69}"/>
          </ac:spMkLst>
        </pc:spChg>
        <pc:picChg chg="add mod">
          <ac:chgData name="Thomas Stensitzki" userId="75cafe6b-2f2a-469b-85c4-eec3b9c972ba" providerId="ADAL" clId="{04798C56-1619-44FF-99CC-951BCBEDA3B6}" dt="2021-10-16T10:22:38.682" v="1698" actId="1076"/>
          <ac:picMkLst>
            <pc:docMk/>
            <pc:sldMk cId="3342197954" sldId="521"/>
            <ac:picMk id="4098" creationId="{A3EBC635-856A-4C2D-A3A7-4C6EDD7B2A52}"/>
          </ac:picMkLst>
        </pc:picChg>
        <pc:cxnChg chg="add mod">
          <ac:chgData name="Thomas Stensitzki" userId="75cafe6b-2f2a-469b-85c4-eec3b9c972ba" providerId="ADAL" clId="{04798C56-1619-44FF-99CC-951BCBEDA3B6}" dt="2021-10-16T10:23:07.401" v="1702" actId="1076"/>
          <ac:cxnSpMkLst>
            <pc:docMk/>
            <pc:sldMk cId="3342197954" sldId="521"/>
            <ac:cxnSpMk id="6" creationId="{754815A2-3648-4ADF-AA4E-B5635C544B6E}"/>
          </ac:cxnSpMkLst>
        </pc:cxnChg>
      </pc:sldChg>
      <pc:sldChg chg="addSp delSp modSp add del mod">
        <pc:chgData name="Thomas Stensitzki" userId="75cafe6b-2f2a-469b-85c4-eec3b9c972ba" providerId="ADAL" clId="{04798C56-1619-44FF-99CC-951BCBEDA3B6}" dt="2021-10-16T10:25:24.902" v="1728" actId="2696"/>
        <pc:sldMkLst>
          <pc:docMk/>
          <pc:sldMk cId="963108723" sldId="522"/>
        </pc:sldMkLst>
        <pc:spChg chg="mod">
          <ac:chgData name="Thomas Stensitzki" userId="75cafe6b-2f2a-469b-85c4-eec3b9c972ba" providerId="ADAL" clId="{04798C56-1619-44FF-99CC-951BCBEDA3B6}" dt="2021-10-16T10:24:16.796" v="1721"/>
          <ac:spMkLst>
            <pc:docMk/>
            <pc:sldMk cId="963108723" sldId="522"/>
            <ac:spMk id="4" creationId="{237778C3-D01E-4605-9275-3F8FEEF77C69}"/>
          </ac:spMkLst>
        </pc:spChg>
        <pc:picChg chg="add del mod">
          <ac:chgData name="Thomas Stensitzki" userId="75cafe6b-2f2a-469b-85c4-eec3b9c972ba" providerId="ADAL" clId="{04798C56-1619-44FF-99CC-951BCBEDA3B6}" dt="2021-10-16T10:24:47.539" v="1727" actId="478"/>
          <ac:picMkLst>
            <pc:docMk/>
            <pc:sldMk cId="963108723" sldId="522"/>
            <ac:picMk id="2" creationId="{34804C99-4832-4326-92A8-C133C8FA725B}"/>
          </ac:picMkLst>
        </pc:picChg>
      </pc:sldChg>
      <pc:sldChg chg="addSp modSp add mod ord modAnim">
        <pc:chgData name="Thomas Stensitzki" userId="75cafe6b-2f2a-469b-85c4-eec3b9c972ba" providerId="ADAL" clId="{04798C56-1619-44FF-99CC-951BCBEDA3B6}" dt="2021-10-18T06:57:29.195" v="3931"/>
        <pc:sldMkLst>
          <pc:docMk/>
          <pc:sldMk cId="2697887611" sldId="523"/>
        </pc:sldMkLst>
        <pc:spChg chg="mod">
          <ac:chgData name="Thomas Stensitzki" userId="75cafe6b-2f2a-469b-85c4-eec3b9c972ba" providerId="ADAL" clId="{04798C56-1619-44FF-99CC-951BCBEDA3B6}" dt="2021-10-16T11:10:34.667" v="2369" actId="5793"/>
          <ac:spMkLst>
            <pc:docMk/>
            <pc:sldMk cId="2697887611" sldId="523"/>
            <ac:spMk id="4" creationId="{237778C3-D01E-4605-9275-3F8FEEF77C69}"/>
          </ac:spMkLst>
        </pc:spChg>
        <pc:picChg chg="add mod">
          <ac:chgData name="Thomas Stensitzki" userId="75cafe6b-2f2a-469b-85c4-eec3b9c972ba" providerId="ADAL" clId="{04798C56-1619-44FF-99CC-951BCBEDA3B6}" dt="2021-10-16T11:10:13.484" v="2353" actId="1076"/>
          <ac:picMkLst>
            <pc:docMk/>
            <pc:sldMk cId="2697887611" sldId="523"/>
            <ac:picMk id="3" creationId="{4D0CC758-400B-485A-A1EF-67C25647D090}"/>
          </ac:picMkLst>
        </pc:picChg>
        <pc:picChg chg="add mod">
          <ac:chgData name="Thomas Stensitzki" userId="75cafe6b-2f2a-469b-85c4-eec3b9c972ba" providerId="ADAL" clId="{04798C56-1619-44FF-99CC-951BCBEDA3B6}" dt="2021-10-16T11:10:15.406" v="2354" actId="1076"/>
          <ac:picMkLst>
            <pc:docMk/>
            <pc:sldMk cId="2697887611" sldId="523"/>
            <ac:picMk id="5" creationId="{BFEF3186-9AD0-4D4C-A61B-F40053705A67}"/>
          </ac:picMkLst>
        </pc:picChg>
      </pc:sldChg>
      <pc:sldChg chg="modSp add mod ord">
        <pc:chgData name="Thomas Stensitzki" userId="75cafe6b-2f2a-469b-85c4-eec3b9c972ba" providerId="ADAL" clId="{04798C56-1619-44FF-99CC-951BCBEDA3B6}" dt="2021-10-18T06:53:32.991" v="3804" actId="1035"/>
        <pc:sldMkLst>
          <pc:docMk/>
          <pc:sldMk cId="3151864037" sldId="524"/>
        </pc:sldMkLst>
        <pc:spChg chg="mod">
          <ac:chgData name="Thomas Stensitzki" userId="75cafe6b-2f2a-469b-85c4-eec3b9c972ba" providerId="ADAL" clId="{04798C56-1619-44FF-99CC-951BCBEDA3B6}" dt="2021-10-18T06:53:32.991" v="3804" actId="1035"/>
          <ac:spMkLst>
            <pc:docMk/>
            <pc:sldMk cId="3151864037" sldId="524"/>
            <ac:spMk id="2" creationId="{909DC09D-B9A6-4493-9A72-1CA7ECB1F5CA}"/>
          </ac:spMkLst>
        </pc:spChg>
        <pc:spChg chg="mod">
          <ac:chgData name="Thomas Stensitzki" userId="75cafe6b-2f2a-469b-85c4-eec3b9c972ba" providerId="ADAL" clId="{04798C56-1619-44FF-99CC-951BCBEDA3B6}" dt="2021-10-16T11:36:38.393" v="3113" actId="6549"/>
          <ac:spMkLst>
            <pc:docMk/>
            <pc:sldMk cId="3151864037" sldId="524"/>
            <ac:spMk id="5" creationId="{C24DACB5-1BEC-4C86-9652-BAFD8DE56FEF}"/>
          </ac:spMkLst>
        </pc:spChg>
      </pc:sldChg>
      <pc:sldChg chg="addSp modSp add mod ord">
        <pc:chgData name="Thomas Stensitzki" userId="75cafe6b-2f2a-469b-85c4-eec3b9c972ba" providerId="ADAL" clId="{04798C56-1619-44FF-99CC-951BCBEDA3B6}" dt="2021-10-16T10:32:37.603" v="1870"/>
        <pc:sldMkLst>
          <pc:docMk/>
          <pc:sldMk cId="1710541557" sldId="525"/>
        </pc:sldMkLst>
        <pc:spChg chg="mod">
          <ac:chgData name="Thomas Stensitzki" userId="75cafe6b-2f2a-469b-85c4-eec3b9c972ba" providerId="ADAL" clId="{04798C56-1619-44FF-99CC-951BCBEDA3B6}" dt="2021-10-16T10:32:31.346" v="1868"/>
          <ac:spMkLst>
            <pc:docMk/>
            <pc:sldMk cId="1710541557" sldId="525"/>
            <ac:spMk id="4" creationId="{237778C3-D01E-4605-9275-3F8FEEF77C69}"/>
          </ac:spMkLst>
        </pc:spChg>
        <pc:picChg chg="add mod">
          <ac:chgData name="Thomas Stensitzki" userId="75cafe6b-2f2a-469b-85c4-eec3b9c972ba" providerId="ADAL" clId="{04798C56-1619-44FF-99CC-951BCBEDA3B6}" dt="2021-10-16T10:32:19.181" v="1867" actId="1440"/>
          <ac:picMkLst>
            <pc:docMk/>
            <pc:sldMk cId="1710541557" sldId="525"/>
            <ac:picMk id="2" creationId="{06D52E15-8E3C-4940-B65E-F576B3596520}"/>
          </ac:picMkLst>
        </pc:picChg>
      </pc:sldChg>
      <pc:sldChg chg="addSp delSp modSp add mod modClrScheme chgLayout">
        <pc:chgData name="Thomas Stensitzki" userId="75cafe6b-2f2a-469b-85c4-eec3b9c972ba" providerId="ADAL" clId="{04798C56-1619-44FF-99CC-951BCBEDA3B6}" dt="2021-10-16T10:57:29.333" v="2266" actId="20577"/>
        <pc:sldMkLst>
          <pc:docMk/>
          <pc:sldMk cId="2296744449" sldId="526"/>
        </pc:sldMkLst>
        <pc:spChg chg="del mod ord">
          <ac:chgData name="Thomas Stensitzki" userId="75cafe6b-2f2a-469b-85c4-eec3b9c972ba" providerId="ADAL" clId="{04798C56-1619-44FF-99CC-951BCBEDA3B6}" dt="2021-10-16T10:53:41.948" v="2003" actId="700"/>
          <ac:spMkLst>
            <pc:docMk/>
            <pc:sldMk cId="2296744449" sldId="526"/>
            <ac:spMk id="4" creationId="{237778C3-D01E-4605-9275-3F8FEEF77C69}"/>
          </ac:spMkLst>
        </pc:spChg>
        <pc:spChg chg="add mod ord">
          <ac:chgData name="Thomas Stensitzki" userId="75cafe6b-2f2a-469b-85c4-eec3b9c972ba" providerId="ADAL" clId="{04798C56-1619-44FF-99CC-951BCBEDA3B6}" dt="2021-10-16T10:53:57.007" v="2006"/>
          <ac:spMkLst>
            <pc:docMk/>
            <pc:sldMk cId="2296744449" sldId="526"/>
            <ac:spMk id="6" creationId="{A902098A-57D9-477D-88A8-01CD719FA8C7}"/>
          </ac:spMkLst>
        </pc:spChg>
        <pc:spChg chg="add mod ord">
          <ac:chgData name="Thomas Stensitzki" userId="75cafe6b-2f2a-469b-85c4-eec3b9c972ba" providerId="ADAL" clId="{04798C56-1619-44FF-99CC-951BCBEDA3B6}" dt="2021-10-16T10:57:29.333" v="2266" actId="20577"/>
          <ac:spMkLst>
            <pc:docMk/>
            <pc:sldMk cId="2296744449" sldId="526"/>
            <ac:spMk id="7" creationId="{05582143-F84F-494C-9ED3-74F62B4BE08E}"/>
          </ac:spMkLst>
        </pc:spChg>
        <pc:picChg chg="add del">
          <ac:chgData name="Thomas Stensitzki" userId="75cafe6b-2f2a-469b-85c4-eec3b9c972ba" providerId="ADAL" clId="{04798C56-1619-44FF-99CC-951BCBEDA3B6}" dt="2021-10-16T10:51:53.504" v="1996" actId="478"/>
          <ac:picMkLst>
            <pc:docMk/>
            <pc:sldMk cId="2296744449" sldId="526"/>
            <ac:picMk id="2" creationId="{8354C8BF-DF9C-44EA-A1E6-2EC4D16FDA45}"/>
          </ac:picMkLst>
        </pc:picChg>
        <pc:picChg chg="add mod">
          <ac:chgData name="Thomas Stensitzki" userId="75cafe6b-2f2a-469b-85c4-eec3b9c972ba" providerId="ADAL" clId="{04798C56-1619-44FF-99CC-951BCBEDA3B6}" dt="2021-10-16T10:56:09.529" v="2173" actId="1076"/>
          <ac:picMkLst>
            <pc:docMk/>
            <pc:sldMk cId="2296744449" sldId="526"/>
            <ac:picMk id="5" creationId="{5052816C-78B9-4C14-9CFB-A4857227AC95}"/>
          </ac:picMkLst>
        </pc:picChg>
      </pc:sldChg>
      <pc:sldChg chg="addSp delSp modSp new mod">
        <pc:chgData name="Thomas Stensitzki" userId="75cafe6b-2f2a-469b-85c4-eec3b9c972ba" providerId="ADAL" clId="{04798C56-1619-44FF-99CC-951BCBEDA3B6}" dt="2021-10-16T11:12:32.506" v="2404" actId="1440"/>
        <pc:sldMkLst>
          <pc:docMk/>
          <pc:sldMk cId="1119798974" sldId="527"/>
        </pc:sldMkLst>
        <pc:spChg chg="mod">
          <ac:chgData name="Thomas Stensitzki" userId="75cafe6b-2f2a-469b-85c4-eec3b9c972ba" providerId="ADAL" clId="{04798C56-1619-44FF-99CC-951BCBEDA3B6}" dt="2021-10-16T11:12:14.446" v="2400"/>
          <ac:spMkLst>
            <pc:docMk/>
            <pc:sldMk cId="1119798974" sldId="527"/>
            <ac:spMk id="2" creationId="{B8016162-B70C-4672-8C07-1762516DBD9A}"/>
          </ac:spMkLst>
        </pc:spChg>
        <pc:picChg chg="add del mod">
          <ac:chgData name="Thomas Stensitzki" userId="75cafe6b-2f2a-469b-85c4-eec3b9c972ba" providerId="ADAL" clId="{04798C56-1619-44FF-99CC-951BCBEDA3B6}" dt="2021-10-16T11:10:02.834" v="2350" actId="478"/>
          <ac:picMkLst>
            <pc:docMk/>
            <pc:sldMk cId="1119798974" sldId="527"/>
            <ac:picMk id="3" creationId="{3EBA36CF-0A26-4084-8A58-4C6C233A6D9A}"/>
          </ac:picMkLst>
        </pc:picChg>
        <pc:picChg chg="add mod">
          <ac:chgData name="Thomas Stensitzki" userId="75cafe6b-2f2a-469b-85c4-eec3b9c972ba" providerId="ADAL" clId="{04798C56-1619-44FF-99CC-951BCBEDA3B6}" dt="2021-10-16T11:12:32.506" v="2404" actId="1440"/>
          <ac:picMkLst>
            <pc:docMk/>
            <pc:sldMk cId="1119798974" sldId="527"/>
            <ac:picMk id="4" creationId="{EFB94256-E15F-4C1D-B7BB-F66F224840E1}"/>
          </ac:picMkLst>
        </pc:picChg>
        <pc:picChg chg="add del mod">
          <ac:chgData name="Thomas Stensitzki" userId="75cafe6b-2f2a-469b-85c4-eec3b9c972ba" providerId="ADAL" clId="{04798C56-1619-44FF-99CC-951BCBEDA3B6}" dt="2021-10-16T11:10:03.376" v="2351" actId="478"/>
          <ac:picMkLst>
            <pc:docMk/>
            <pc:sldMk cId="1119798974" sldId="527"/>
            <ac:picMk id="5122" creationId="{D4548B28-107D-4544-AA40-F5A15963A7EF}"/>
          </ac:picMkLst>
        </pc:picChg>
      </pc:sldChg>
      <pc:sldChg chg="addSp delSp modSp add mod modAnim">
        <pc:chgData name="Thomas Stensitzki" userId="75cafe6b-2f2a-469b-85c4-eec3b9c972ba" providerId="ADAL" clId="{04798C56-1619-44FF-99CC-951BCBEDA3B6}" dt="2021-10-18T06:57:50.645" v="3932"/>
        <pc:sldMkLst>
          <pc:docMk/>
          <pc:sldMk cId="2356668622" sldId="528"/>
        </pc:sldMkLst>
        <pc:spChg chg="mod">
          <ac:chgData name="Thomas Stensitzki" userId="75cafe6b-2f2a-469b-85c4-eec3b9c972ba" providerId="ADAL" clId="{04798C56-1619-44FF-99CC-951BCBEDA3B6}" dt="2021-10-16T11:10:31.499" v="2367" actId="5793"/>
          <ac:spMkLst>
            <pc:docMk/>
            <pc:sldMk cId="2356668622" sldId="528"/>
            <ac:spMk id="4" creationId="{237778C3-D01E-4605-9275-3F8FEEF77C69}"/>
          </ac:spMkLst>
        </pc:spChg>
        <pc:picChg chg="del">
          <ac:chgData name="Thomas Stensitzki" userId="75cafe6b-2f2a-469b-85c4-eec3b9c972ba" providerId="ADAL" clId="{04798C56-1619-44FF-99CC-951BCBEDA3B6}" dt="2021-10-16T11:10:21.200" v="2356" actId="478"/>
          <ac:picMkLst>
            <pc:docMk/>
            <pc:sldMk cId="2356668622" sldId="528"/>
            <ac:picMk id="3" creationId="{4D0CC758-400B-485A-A1EF-67C25647D090}"/>
          </ac:picMkLst>
        </pc:picChg>
        <pc:picChg chg="del">
          <ac:chgData name="Thomas Stensitzki" userId="75cafe6b-2f2a-469b-85c4-eec3b9c972ba" providerId="ADAL" clId="{04798C56-1619-44FF-99CC-951BCBEDA3B6}" dt="2021-10-16T11:10:21.840" v="2357" actId="478"/>
          <ac:picMkLst>
            <pc:docMk/>
            <pc:sldMk cId="2356668622" sldId="528"/>
            <ac:picMk id="5" creationId="{BFEF3186-9AD0-4D4C-A61B-F40053705A67}"/>
          </ac:picMkLst>
        </pc:picChg>
        <pc:picChg chg="add mod">
          <ac:chgData name="Thomas Stensitzki" userId="75cafe6b-2f2a-469b-85c4-eec3b9c972ba" providerId="ADAL" clId="{04798C56-1619-44FF-99CC-951BCBEDA3B6}" dt="2021-10-16T11:10:59.517" v="2375" actId="1440"/>
          <ac:picMkLst>
            <pc:docMk/>
            <pc:sldMk cId="2356668622" sldId="528"/>
            <ac:picMk id="6146" creationId="{7451AACD-DCF9-47D1-ADF4-2445FE7C952C}"/>
          </ac:picMkLst>
        </pc:picChg>
        <pc:picChg chg="add mod">
          <ac:chgData name="Thomas Stensitzki" userId="75cafe6b-2f2a-469b-85c4-eec3b9c972ba" providerId="ADAL" clId="{04798C56-1619-44FF-99CC-951BCBEDA3B6}" dt="2021-10-16T11:11:02.084" v="2376" actId="1076"/>
          <ac:picMkLst>
            <pc:docMk/>
            <pc:sldMk cId="2356668622" sldId="528"/>
            <ac:picMk id="6148" creationId="{8B67657B-55D4-4655-A739-B22B08D9C5DE}"/>
          </ac:picMkLst>
        </pc:picChg>
      </pc:sldChg>
      <pc:sldChg chg="addSp modSp add mod">
        <pc:chgData name="Thomas Stensitzki" userId="75cafe6b-2f2a-469b-85c4-eec3b9c972ba" providerId="ADAL" clId="{04798C56-1619-44FF-99CC-951BCBEDA3B6}" dt="2021-10-16T11:38:20.939" v="3132" actId="1440"/>
        <pc:sldMkLst>
          <pc:docMk/>
          <pc:sldMk cId="3227298801" sldId="529"/>
        </pc:sldMkLst>
        <pc:spChg chg="mod">
          <ac:chgData name="Thomas Stensitzki" userId="75cafe6b-2f2a-469b-85c4-eec3b9c972ba" providerId="ADAL" clId="{04798C56-1619-44FF-99CC-951BCBEDA3B6}" dt="2021-10-16T11:37:46.995" v="3124"/>
          <ac:spMkLst>
            <pc:docMk/>
            <pc:sldMk cId="3227298801" sldId="529"/>
            <ac:spMk id="2" creationId="{B8016162-B70C-4672-8C07-1762516DBD9A}"/>
          </ac:spMkLst>
        </pc:spChg>
        <pc:picChg chg="add mod">
          <ac:chgData name="Thomas Stensitzki" userId="75cafe6b-2f2a-469b-85c4-eec3b9c972ba" providerId="ADAL" clId="{04798C56-1619-44FF-99CC-951BCBEDA3B6}" dt="2021-10-16T11:38:20.939" v="3132" actId="1440"/>
          <ac:picMkLst>
            <pc:docMk/>
            <pc:sldMk cId="3227298801" sldId="529"/>
            <ac:picMk id="10242" creationId="{851EA549-C7C6-4F51-B742-7F9C1BA59D95}"/>
          </ac:picMkLst>
        </pc:picChg>
      </pc:sldChg>
      <pc:sldChg chg="modSp new mod">
        <pc:chgData name="Thomas Stensitzki" userId="75cafe6b-2f2a-469b-85c4-eec3b9c972ba" providerId="ADAL" clId="{04798C56-1619-44FF-99CC-951BCBEDA3B6}" dt="2021-10-16T11:17:44.016" v="2803" actId="20577"/>
        <pc:sldMkLst>
          <pc:docMk/>
          <pc:sldMk cId="4001838037" sldId="530"/>
        </pc:sldMkLst>
        <pc:spChg chg="mod">
          <ac:chgData name="Thomas Stensitzki" userId="75cafe6b-2f2a-469b-85c4-eec3b9c972ba" providerId="ADAL" clId="{04798C56-1619-44FF-99CC-951BCBEDA3B6}" dt="2021-10-16T11:14:51.998" v="2436"/>
          <ac:spMkLst>
            <pc:docMk/>
            <pc:sldMk cId="4001838037" sldId="530"/>
            <ac:spMk id="2" creationId="{B0491DAA-2211-497D-B366-2D81056B599B}"/>
          </ac:spMkLst>
        </pc:spChg>
        <pc:spChg chg="mod">
          <ac:chgData name="Thomas Stensitzki" userId="75cafe6b-2f2a-469b-85c4-eec3b9c972ba" providerId="ADAL" clId="{04798C56-1619-44FF-99CC-951BCBEDA3B6}" dt="2021-10-16T11:17:44.016" v="2803" actId="20577"/>
          <ac:spMkLst>
            <pc:docMk/>
            <pc:sldMk cId="4001838037" sldId="530"/>
            <ac:spMk id="3" creationId="{1150D9B8-210A-4612-9CCD-2CE3DFFD258F}"/>
          </ac:spMkLst>
        </pc:spChg>
      </pc:sldChg>
      <pc:sldChg chg="addSp delSp modSp new mod">
        <pc:chgData name="Thomas Stensitzki" userId="75cafe6b-2f2a-469b-85c4-eec3b9c972ba" providerId="ADAL" clId="{04798C56-1619-44FF-99CC-951BCBEDA3B6}" dt="2021-10-16T11:27:21.554" v="3001" actId="1076"/>
        <pc:sldMkLst>
          <pc:docMk/>
          <pc:sldMk cId="459788482" sldId="531"/>
        </pc:sldMkLst>
        <pc:spChg chg="mod">
          <ac:chgData name="Thomas Stensitzki" userId="75cafe6b-2f2a-469b-85c4-eec3b9c972ba" providerId="ADAL" clId="{04798C56-1619-44FF-99CC-951BCBEDA3B6}" dt="2021-10-16T11:22:16.085" v="2871"/>
          <ac:spMkLst>
            <pc:docMk/>
            <pc:sldMk cId="459788482" sldId="531"/>
            <ac:spMk id="2" creationId="{9A692100-D637-40AC-B465-436308DBF798}"/>
          </ac:spMkLst>
        </pc:spChg>
        <pc:spChg chg="mod">
          <ac:chgData name="Thomas Stensitzki" userId="75cafe6b-2f2a-469b-85c4-eec3b9c972ba" providerId="ADAL" clId="{04798C56-1619-44FF-99CC-951BCBEDA3B6}" dt="2021-10-16T11:24:48.505" v="2987" actId="14100"/>
          <ac:spMkLst>
            <pc:docMk/>
            <pc:sldMk cId="459788482" sldId="531"/>
            <ac:spMk id="3" creationId="{83208AB7-10CC-4D6E-BC26-AF9DC53A690D}"/>
          </ac:spMkLst>
        </pc:spChg>
        <pc:picChg chg="add mod">
          <ac:chgData name="Thomas Stensitzki" userId="75cafe6b-2f2a-469b-85c4-eec3b9c972ba" providerId="ADAL" clId="{04798C56-1619-44FF-99CC-951BCBEDA3B6}" dt="2021-10-16T11:26:12.772" v="2997" actId="1440"/>
          <ac:picMkLst>
            <pc:docMk/>
            <pc:sldMk cId="459788482" sldId="531"/>
            <ac:picMk id="5" creationId="{4D4BF80E-2A59-47C3-A019-BA83C8F8F996}"/>
          </ac:picMkLst>
        </pc:picChg>
        <pc:picChg chg="add del mod">
          <ac:chgData name="Thomas Stensitzki" userId="75cafe6b-2f2a-469b-85c4-eec3b9c972ba" providerId="ADAL" clId="{04798C56-1619-44FF-99CC-951BCBEDA3B6}" dt="2021-10-16T11:24:49.119" v="2988"/>
          <ac:picMkLst>
            <pc:docMk/>
            <pc:sldMk cId="459788482" sldId="531"/>
            <ac:picMk id="8194" creationId="{8B8AEE66-5CA1-4506-9A8B-509DA9B1A978}"/>
          </ac:picMkLst>
        </pc:picChg>
        <pc:picChg chg="add del mod">
          <ac:chgData name="Thomas Stensitzki" userId="75cafe6b-2f2a-469b-85c4-eec3b9c972ba" providerId="ADAL" clId="{04798C56-1619-44FF-99CC-951BCBEDA3B6}" dt="2021-10-16T11:25:44.167" v="2993" actId="478"/>
          <ac:picMkLst>
            <pc:docMk/>
            <pc:sldMk cId="459788482" sldId="531"/>
            <ac:picMk id="8196" creationId="{DB2EA760-F1EB-43B9-9FB8-FA608FEE1D28}"/>
          </ac:picMkLst>
        </pc:picChg>
        <pc:cxnChg chg="add mod">
          <ac:chgData name="Thomas Stensitzki" userId="75cafe6b-2f2a-469b-85c4-eec3b9c972ba" providerId="ADAL" clId="{04798C56-1619-44FF-99CC-951BCBEDA3B6}" dt="2021-10-16T11:27:21.554" v="3001" actId="1076"/>
          <ac:cxnSpMkLst>
            <pc:docMk/>
            <pc:sldMk cId="459788482" sldId="531"/>
            <ac:cxnSpMk id="8" creationId="{A41DC692-3D18-46E9-A378-1B84DD1F59A2}"/>
          </ac:cxnSpMkLst>
        </pc:cxnChg>
      </pc:sldChg>
      <pc:sldChg chg="modSp add mod ord">
        <pc:chgData name="Thomas Stensitzki" userId="75cafe6b-2f2a-469b-85c4-eec3b9c972ba" providerId="ADAL" clId="{04798C56-1619-44FF-99CC-951BCBEDA3B6}" dt="2021-10-18T06:58:32.773" v="4022" actId="1036"/>
        <pc:sldMkLst>
          <pc:docMk/>
          <pc:sldMk cId="1002663695" sldId="532"/>
        </pc:sldMkLst>
        <pc:spChg chg="mod">
          <ac:chgData name="Thomas Stensitzki" userId="75cafe6b-2f2a-469b-85c4-eec3b9c972ba" providerId="ADAL" clId="{04798C56-1619-44FF-99CC-951BCBEDA3B6}" dt="2021-10-18T06:58:32.773" v="4022" actId="1036"/>
          <ac:spMkLst>
            <pc:docMk/>
            <pc:sldMk cId="1002663695" sldId="532"/>
            <ac:spMk id="2" creationId="{909DC09D-B9A6-4493-9A72-1CA7ECB1F5CA}"/>
          </ac:spMkLst>
        </pc:spChg>
        <pc:spChg chg="mod">
          <ac:chgData name="Thomas Stensitzki" userId="75cafe6b-2f2a-469b-85c4-eec3b9c972ba" providerId="ADAL" clId="{04798C56-1619-44FF-99CC-951BCBEDA3B6}" dt="2021-10-16T11:44:42.795" v="3488"/>
          <ac:spMkLst>
            <pc:docMk/>
            <pc:sldMk cId="1002663695" sldId="532"/>
            <ac:spMk id="5" creationId="{C24DACB5-1BEC-4C86-9652-BAFD8DE56FEF}"/>
          </ac:spMkLst>
        </pc:spChg>
      </pc:sldChg>
      <pc:sldChg chg="modSp add mod ord">
        <pc:chgData name="Thomas Stensitzki" userId="75cafe6b-2f2a-469b-85c4-eec3b9c972ba" providerId="ADAL" clId="{04798C56-1619-44FF-99CC-951BCBEDA3B6}" dt="2021-10-18T07:04:02.151" v="4348" actId="1036"/>
        <pc:sldMkLst>
          <pc:docMk/>
          <pc:sldMk cId="3719475429" sldId="533"/>
        </pc:sldMkLst>
        <pc:spChg chg="mod">
          <ac:chgData name="Thomas Stensitzki" userId="75cafe6b-2f2a-469b-85c4-eec3b9c972ba" providerId="ADAL" clId="{04798C56-1619-44FF-99CC-951BCBEDA3B6}" dt="2021-10-18T07:04:02.151" v="4348" actId="1036"/>
          <ac:spMkLst>
            <pc:docMk/>
            <pc:sldMk cId="3719475429" sldId="533"/>
            <ac:spMk id="2" creationId="{909DC09D-B9A6-4493-9A72-1CA7ECB1F5CA}"/>
          </ac:spMkLst>
        </pc:spChg>
        <pc:spChg chg="mod">
          <ac:chgData name="Thomas Stensitzki" userId="75cafe6b-2f2a-469b-85c4-eec3b9c972ba" providerId="ADAL" clId="{04798C56-1619-44FF-99CC-951BCBEDA3B6}" dt="2021-10-18T07:03:50.310" v="4338" actId="6549"/>
          <ac:spMkLst>
            <pc:docMk/>
            <pc:sldMk cId="3719475429" sldId="533"/>
            <ac:spMk id="5" creationId="{C24DACB5-1BEC-4C86-9652-BAFD8DE56FEF}"/>
          </ac:spMkLst>
        </pc:spChg>
      </pc:sldChg>
      <pc:sldChg chg="addSp delSp modSp new mod modClrScheme chgLayout modNotesTx">
        <pc:chgData name="Thomas Stensitzki" userId="75cafe6b-2f2a-469b-85c4-eec3b9c972ba" providerId="ADAL" clId="{04798C56-1619-44FF-99CC-951BCBEDA3B6}" dt="2021-10-16T11:32:27.538" v="3047" actId="113"/>
        <pc:sldMkLst>
          <pc:docMk/>
          <pc:sldMk cId="3555038738" sldId="534"/>
        </pc:sldMkLst>
        <pc:spChg chg="mod ord">
          <ac:chgData name="Thomas Stensitzki" userId="75cafe6b-2f2a-469b-85c4-eec3b9c972ba" providerId="ADAL" clId="{04798C56-1619-44FF-99CC-951BCBEDA3B6}" dt="2021-10-16T11:31:44.321" v="3037" actId="5793"/>
          <ac:spMkLst>
            <pc:docMk/>
            <pc:sldMk cId="3555038738" sldId="534"/>
            <ac:spMk id="2" creationId="{F3EA054C-2C03-457B-9EA6-7DC02548D2F0}"/>
          </ac:spMkLst>
        </pc:spChg>
        <pc:spChg chg="del">
          <ac:chgData name="Thomas Stensitzki" userId="75cafe6b-2f2a-469b-85c4-eec3b9c972ba" providerId="ADAL" clId="{04798C56-1619-44FF-99CC-951BCBEDA3B6}" dt="2021-10-16T11:30:16.132" v="3015" actId="700"/>
          <ac:spMkLst>
            <pc:docMk/>
            <pc:sldMk cId="3555038738" sldId="534"/>
            <ac:spMk id="3" creationId="{B90489FA-BDAE-41A3-BF5F-364BFEBD10A7}"/>
          </ac:spMkLst>
        </pc:spChg>
        <pc:picChg chg="add mod">
          <ac:chgData name="Thomas Stensitzki" userId="75cafe6b-2f2a-469b-85c4-eec3b9c972ba" providerId="ADAL" clId="{04798C56-1619-44FF-99CC-951BCBEDA3B6}" dt="2021-10-16T11:30:54.222" v="3022" actId="14100"/>
          <ac:picMkLst>
            <pc:docMk/>
            <pc:sldMk cId="3555038738" sldId="534"/>
            <ac:picMk id="4" creationId="{34D5F48E-9275-4D51-B47D-8DB0BE183846}"/>
          </ac:picMkLst>
        </pc:picChg>
        <pc:picChg chg="add mod">
          <ac:chgData name="Thomas Stensitzki" userId="75cafe6b-2f2a-469b-85c4-eec3b9c972ba" providerId="ADAL" clId="{04798C56-1619-44FF-99CC-951BCBEDA3B6}" dt="2021-10-16T11:31:49.452" v="3038" actId="1076"/>
          <ac:picMkLst>
            <pc:docMk/>
            <pc:sldMk cId="3555038738" sldId="534"/>
            <ac:picMk id="9218" creationId="{F47B81C6-CB63-40EF-A313-E7716606F9F9}"/>
          </ac:picMkLst>
        </pc:picChg>
      </pc:sldChg>
      <pc:sldChg chg="addSp delSp modSp add mod">
        <pc:chgData name="Thomas Stensitzki" userId="75cafe6b-2f2a-469b-85c4-eec3b9c972ba" providerId="ADAL" clId="{04798C56-1619-44FF-99CC-951BCBEDA3B6}" dt="2021-10-16T11:32:03.627" v="3044" actId="1440"/>
        <pc:sldMkLst>
          <pc:docMk/>
          <pc:sldMk cId="89213568" sldId="535"/>
        </pc:sldMkLst>
        <pc:picChg chg="add mod">
          <ac:chgData name="Thomas Stensitzki" userId="75cafe6b-2f2a-469b-85c4-eec3b9c972ba" providerId="ADAL" clId="{04798C56-1619-44FF-99CC-951BCBEDA3B6}" dt="2021-10-16T11:32:03.627" v="3044" actId="1440"/>
          <ac:picMkLst>
            <pc:docMk/>
            <pc:sldMk cId="89213568" sldId="535"/>
            <ac:picMk id="3" creationId="{3B97F59B-4030-42F7-94D8-8C1FE516657F}"/>
          </ac:picMkLst>
        </pc:picChg>
        <pc:picChg chg="del">
          <ac:chgData name="Thomas Stensitzki" userId="75cafe6b-2f2a-469b-85c4-eec3b9c972ba" providerId="ADAL" clId="{04798C56-1619-44FF-99CC-951BCBEDA3B6}" dt="2021-10-16T11:31:52.271" v="3039" actId="478"/>
          <ac:picMkLst>
            <pc:docMk/>
            <pc:sldMk cId="89213568" sldId="535"/>
            <ac:picMk id="4" creationId="{34D5F48E-9275-4D51-B47D-8DB0BE183846}"/>
          </ac:picMkLst>
        </pc:picChg>
        <pc:picChg chg="del">
          <ac:chgData name="Thomas Stensitzki" userId="75cafe6b-2f2a-469b-85c4-eec3b9c972ba" providerId="ADAL" clId="{04798C56-1619-44FF-99CC-951BCBEDA3B6}" dt="2021-10-16T11:31:52.676" v="3040" actId="478"/>
          <ac:picMkLst>
            <pc:docMk/>
            <pc:sldMk cId="89213568" sldId="535"/>
            <ac:picMk id="9218" creationId="{F47B81C6-CB63-40EF-A313-E7716606F9F9}"/>
          </ac:picMkLst>
        </pc:picChg>
      </pc:sldChg>
      <pc:sldChg chg="addSp modSp add mod modClrScheme chgLayout">
        <pc:chgData name="Thomas Stensitzki" userId="75cafe6b-2f2a-469b-85c4-eec3b9c972ba" providerId="ADAL" clId="{04798C56-1619-44FF-99CC-951BCBEDA3B6}" dt="2021-10-16T11:44:08.289" v="3486" actId="20577"/>
        <pc:sldMkLst>
          <pc:docMk/>
          <pc:sldMk cId="3161842247" sldId="536"/>
        </pc:sldMkLst>
        <pc:spChg chg="mod ord">
          <ac:chgData name="Thomas Stensitzki" userId="75cafe6b-2f2a-469b-85c4-eec3b9c972ba" providerId="ADAL" clId="{04798C56-1619-44FF-99CC-951BCBEDA3B6}" dt="2021-10-16T11:40:00.345" v="3140" actId="700"/>
          <ac:spMkLst>
            <pc:docMk/>
            <pc:sldMk cId="3161842247" sldId="536"/>
            <ac:spMk id="2" creationId="{B8016162-B70C-4672-8C07-1762516DBD9A}"/>
          </ac:spMkLst>
        </pc:spChg>
        <pc:spChg chg="add mod ord">
          <ac:chgData name="Thomas Stensitzki" userId="75cafe6b-2f2a-469b-85c4-eec3b9c972ba" providerId="ADAL" clId="{04798C56-1619-44FF-99CC-951BCBEDA3B6}" dt="2021-10-16T11:44:08.289" v="3486" actId="20577"/>
          <ac:spMkLst>
            <pc:docMk/>
            <pc:sldMk cId="3161842247" sldId="536"/>
            <ac:spMk id="4" creationId="{4BE03C7F-5A9C-4420-BECB-1150EC706B50}"/>
          </ac:spMkLst>
        </pc:spChg>
        <pc:picChg chg="add mod">
          <ac:chgData name="Thomas Stensitzki" userId="75cafe6b-2f2a-469b-85c4-eec3b9c972ba" providerId="ADAL" clId="{04798C56-1619-44FF-99CC-951BCBEDA3B6}" dt="2021-10-16T11:43:00.019" v="3394" actId="1076"/>
          <ac:picMkLst>
            <pc:docMk/>
            <pc:sldMk cId="3161842247" sldId="536"/>
            <ac:picMk id="3" creationId="{585D2684-FF48-407A-9437-E3734865FDFE}"/>
          </ac:picMkLst>
        </pc:picChg>
      </pc:sldChg>
      <pc:sldChg chg="addSp modSp add mod modNotesTx">
        <pc:chgData name="Thomas Stensitzki" userId="75cafe6b-2f2a-469b-85c4-eec3b9c972ba" providerId="ADAL" clId="{04798C56-1619-44FF-99CC-951BCBEDA3B6}" dt="2021-10-16T11:45:48.736" v="3512" actId="1076"/>
        <pc:sldMkLst>
          <pc:docMk/>
          <pc:sldMk cId="273152899" sldId="537"/>
        </pc:sldMkLst>
        <pc:spChg chg="mod">
          <ac:chgData name="Thomas Stensitzki" userId="75cafe6b-2f2a-469b-85c4-eec3b9c972ba" providerId="ADAL" clId="{04798C56-1619-44FF-99CC-951BCBEDA3B6}" dt="2021-10-16T11:44:56.403" v="3489"/>
          <ac:spMkLst>
            <pc:docMk/>
            <pc:sldMk cId="273152899" sldId="537"/>
            <ac:spMk id="2" creationId="{B8016162-B70C-4672-8C07-1762516DBD9A}"/>
          </ac:spMkLst>
        </pc:spChg>
        <pc:picChg chg="add mod">
          <ac:chgData name="Thomas Stensitzki" userId="75cafe6b-2f2a-469b-85c4-eec3b9c972ba" providerId="ADAL" clId="{04798C56-1619-44FF-99CC-951BCBEDA3B6}" dt="2021-10-16T11:45:48.736" v="3512" actId="1076"/>
          <ac:picMkLst>
            <pc:docMk/>
            <pc:sldMk cId="273152899" sldId="537"/>
            <ac:picMk id="11266" creationId="{1CAA1F0D-AF5E-469F-BD6E-983D4ADF3CF5}"/>
          </ac:picMkLst>
        </pc:picChg>
        <pc:picChg chg="add mod">
          <ac:chgData name="Thomas Stensitzki" userId="75cafe6b-2f2a-469b-85c4-eec3b9c972ba" providerId="ADAL" clId="{04798C56-1619-44FF-99CC-951BCBEDA3B6}" dt="2021-10-16T11:45:46.299" v="3511" actId="1076"/>
          <ac:picMkLst>
            <pc:docMk/>
            <pc:sldMk cId="273152899" sldId="537"/>
            <ac:picMk id="11268" creationId="{1FFCE83E-C685-4E11-AF75-61C5AE51B2FC}"/>
          </ac:picMkLst>
        </pc:picChg>
      </pc:sldChg>
      <pc:sldChg chg="modSp add mod ord modNotesTx">
        <pc:chgData name="Thomas Stensitzki" userId="75cafe6b-2f2a-469b-85c4-eec3b9c972ba" providerId="ADAL" clId="{04798C56-1619-44FF-99CC-951BCBEDA3B6}" dt="2021-10-18T06:51:15.469" v="3578" actId="20577"/>
        <pc:sldMkLst>
          <pc:docMk/>
          <pc:sldMk cId="3101364963" sldId="538"/>
        </pc:sldMkLst>
        <pc:spChg chg="mod">
          <ac:chgData name="Thomas Stensitzki" userId="75cafe6b-2f2a-469b-85c4-eec3b9c972ba" providerId="ADAL" clId="{04798C56-1619-44FF-99CC-951BCBEDA3B6}" dt="2021-10-18T06:51:08.141" v="3555" actId="14100"/>
          <ac:spMkLst>
            <pc:docMk/>
            <pc:sldMk cId="3101364963" sldId="538"/>
            <ac:spMk id="2" creationId="{909DC09D-B9A6-4493-9A72-1CA7ECB1F5CA}"/>
          </ac:spMkLst>
        </pc:spChg>
      </pc:sldChg>
      <pc:sldChg chg="modSp add mod ord modNotesTx">
        <pc:chgData name="Thomas Stensitzki" userId="75cafe6b-2f2a-469b-85c4-eec3b9c972ba" providerId="ADAL" clId="{04798C56-1619-44FF-99CC-951BCBEDA3B6}" dt="2021-10-18T06:52:51.495" v="3715" actId="20577"/>
        <pc:sldMkLst>
          <pc:docMk/>
          <pc:sldMk cId="2457228316" sldId="539"/>
        </pc:sldMkLst>
        <pc:spChg chg="mod">
          <ac:chgData name="Thomas Stensitzki" userId="75cafe6b-2f2a-469b-85c4-eec3b9c972ba" providerId="ADAL" clId="{04798C56-1619-44FF-99CC-951BCBEDA3B6}" dt="2021-10-18T06:51:41.820" v="3614" actId="1035"/>
          <ac:spMkLst>
            <pc:docMk/>
            <pc:sldMk cId="2457228316" sldId="539"/>
            <ac:spMk id="2" creationId="{909DC09D-B9A6-4493-9A72-1CA7ECB1F5CA}"/>
          </ac:spMkLst>
        </pc:spChg>
      </pc:sldChg>
      <pc:sldChg chg="modSp add mod ord modNotesTx">
        <pc:chgData name="Thomas Stensitzki" userId="75cafe6b-2f2a-469b-85c4-eec3b9c972ba" providerId="ADAL" clId="{04798C56-1619-44FF-99CC-951BCBEDA3B6}" dt="2021-10-18T06:52:46.391" v="3714" actId="20577"/>
        <pc:sldMkLst>
          <pc:docMk/>
          <pc:sldMk cId="3084141999" sldId="540"/>
        </pc:sldMkLst>
        <pc:spChg chg="mod">
          <ac:chgData name="Thomas Stensitzki" userId="75cafe6b-2f2a-469b-85c4-eec3b9c972ba" providerId="ADAL" clId="{04798C56-1619-44FF-99CC-951BCBEDA3B6}" dt="2021-10-18T06:52:19.274" v="3658" actId="14100"/>
          <ac:spMkLst>
            <pc:docMk/>
            <pc:sldMk cId="3084141999" sldId="540"/>
            <ac:spMk id="2" creationId="{909DC09D-B9A6-4493-9A72-1CA7ECB1F5CA}"/>
          </ac:spMkLst>
        </pc:spChg>
      </pc:sldChg>
      <pc:sldChg chg="modSp add mod modNotesTx">
        <pc:chgData name="Thomas Stensitzki" userId="75cafe6b-2f2a-469b-85c4-eec3b9c972ba" providerId="ADAL" clId="{04798C56-1619-44FF-99CC-951BCBEDA3B6}" dt="2021-10-18T06:52:43.202" v="3713" actId="20577"/>
        <pc:sldMkLst>
          <pc:docMk/>
          <pc:sldMk cId="400379336" sldId="541"/>
        </pc:sldMkLst>
        <pc:spChg chg="mod">
          <ac:chgData name="Thomas Stensitzki" userId="75cafe6b-2f2a-469b-85c4-eec3b9c972ba" providerId="ADAL" clId="{04798C56-1619-44FF-99CC-951BCBEDA3B6}" dt="2021-10-18T06:52:36.004" v="3712" actId="1036"/>
          <ac:spMkLst>
            <pc:docMk/>
            <pc:sldMk cId="400379336" sldId="541"/>
            <ac:spMk id="2" creationId="{909DC09D-B9A6-4493-9A72-1CA7ECB1F5CA}"/>
          </ac:spMkLst>
        </pc:spChg>
      </pc:sldChg>
      <pc:sldChg chg="modSp add mod">
        <pc:chgData name="Thomas Stensitzki" userId="75cafe6b-2f2a-469b-85c4-eec3b9c972ba" providerId="ADAL" clId="{04798C56-1619-44FF-99CC-951BCBEDA3B6}" dt="2021-10-18T06:53:03.289" v="3751" actId="1035"/>
        <pc:sldMkLst>
          <pc:docMk/>
          <pc:sldMk cId="2825434786" sldId="542"/>
        </pc:sldMkLst>
        <pc:spChg chg="mod">
          <ac:chgData name="Thomas Stensitzki" userId="75cafe6b-2f2a-469b-85c4-eec3b9c972ba" providerId="ADAL" clId="{04798C56-1619-44FF-99CC-951BCBEDA3B6}" dt="2021-10-18T06:53:03.289" v="3751" actId="1035"/>
          <ac:spMkLst>
            <pc:docMk/>
            <pc:sldMk cId="2825434786" sldId="542"/>
            <ac:spMk id="2" creationId="{909DC09D-B9A6-4493-9A72-1CA7ECB1F5CA}"/>
          </ac:spMkLst>
        </pc:spChg>
      </pc:sldChg>
      <pc:sldChg chg="modSp add mod ord">
        <pc:chgData name="Thomas Stensitzki" userId="75cafe6b-2f2a-469b-85c4-eec3b9c972ba" providerId="ADAL" clId="{04798C56-1619-44FF-99CC-951BCBEDA3B6}" dt="2021-10-18T06:56:28.062" v="3832" actId="1036"/>
        <pc:sldMkLst>
          <pc:docMk/>
          <pc:sldMk cId="2440018585" sldId="543"/>
        </pc:sldMkLst>
        <pc:spChg chg="mod">
          <ac:chgData name="Thomas Stensitzki" userId="75cafe6b-2f2a-469b-85c4-eec3b9c972ba" providerId="ADAL" clId="{04798C56-1619-44FF-99CC-951BCBEDA3B6}" dt="2021-10-18T06:56:28.062" v="3832" actId="1036"/>
          <ac:spMkLst>
            <pc:docMk/>
            <pc:sldMk cId="2440018585" sldId="543"/>
            <ac:spMk id="2" creationId="{909DC09D-B9A6-4493-9A72-1CA7ECB1F5CA}"/>
          </ac:spMkLst>
        </pc:spChg>
      </pc:sldChg>
      <pc:sldChg chg="modSp add mod ord">
        <pc:chgData name="Thomas Stensitzki" userId="75cafe6b-2f2a-469b-85c4-eec3b9c972ba" providerId="ADAL" clId="{04798C56-1619-44FF-99CC-951BCBEDA3B6}" dt="2021-10-18T06:56:44.985" v="3870" actId="1036"/>
        <pc:sldMkLst>
          <pc:docMk/>
          <pc:sldMk cId="3405544507" sldId="544"/>
        </pc:sldMkLst>
        <pc:spChg chg="mod">
          <ac:chgData name="Thomas Stensitzki" userId="75cafe6b-2f2a-469b-85c4-eec3b9c972ba" providerId="ADAL" clId="{04798C56-1619-44FF-99CC-951BCBEDA3B6}" dt="2021-10-18T06:56:44.985" v="3870" actId="1036"/>
          <ac:spMkLst>
            <pc:docMk/>
            <pc:sldMk cId="3405544507" sldId="544"/>
            <ac:spMk id="2" creationId="{909DC09D-B9A6-4493-9A72-1CA7ECB1F5CA}"/>
          </ac:spMkLst>
        </pc:spChg>
      </pc:sldChg>
      <pc:sldChg chg="modSp add mod">
        <pc:chgData name="Thomas Stensitzki" userId="75cafe6b-2f2a-469b-85c4-eec3b9c972ba" providerId="ADAL" clId="{04798C56-1619-44FF-99CC-951BCBEDA3B6}" dt="2021-10-18T06:56:57.513" v="3891" actId="1035"/>
        <pc:sldMkLst>
          <pc:docMk/>
          <pc:sldMk cId="3435528560" sldId="545"/>
        </pc:sldMkLst>
        <pc:spChg chg="mod">
          <ac:chgData name="Thomas Stensitzki" userId="75cafe6b-2f2a-469b-85c4-eec3b9c972ba" providerId="ADAL" clId="{04798C56-1619-44FF-99CC-951BCBEDA3B6}" dt="2021-10-18T06:56:57.513" v="3891" actId="1035"/>
          <ac:spMkLst>
            <pc:docMk/>
            <pc:sldMk cId="3435528560" sldId="545"/>
            <ac:spMk id="2" creationId="{909DC09D-B9A6-4493-9A72-1CA7ECB1F5CA}"/>
          </ac:spMkLst>
        </pc:spChg>
      </pc:sldChg>
      <pc:sldChg chg="modSp add mod ord">
        <pc:chgData name="Thomas Stensitzki" userId="75cafe6b-2f2a-469b-85c4-eec3b9c972ba" providerId="ADAL" clId="{04798C56-1619-44FF-99CC-951BCBEDA3B6}" dt="2021-10-18T06:57:14.342" v="3927" actId="1035"/>
        <pc:sldMkLst>
          <pc:docMk/>
          <pc:sldMk cId="351288392" sldId="546"/>
        </pc:sldMkLst>
        <pc:spChg chg="mod">
          <ac:chgData name="Thomas Stensitzki" userId="75cafe6b-2f2a-469b-85c4-eec3b9c972ba" providerId="ADAL" clId="{04798C56-1619-44FF-99CC-951BCBEDA3B6}" dt="2021-10-18T06:57:14.342" v="3927" actId="1035"/>
          <ac:spMkLst>
            <pc:docMk/>
            <pc:sldMk cId="351288392" sldId="546"/>
            <ac:spMk id="2" creationId="{909DC09D-B9A6-4493-9A72-1CA7ECB1F5CA}"/>
          </ac:spMkLst>
        </pc:spChg>
      </pc:sldChg>
      <pc:sldChg chg="modSp add mod ord">
        <pc:chgData name="Thomas Stensitzki" userId="75cafe6b-2f2a-469b-85c4-eec3b9c972ba" providerId="ADAL" clId="{04798C56-1619-44FF-99CC-951BCBEDA3B6}" dt="2021-10-18T06:58:03.546" v="3954" actId="1035"/>
        <pc:sldMkLst>
          <pc:docMk/>
          <pc:sldMk cId="553914419" sldId="547"/>
        </pc:sldMkLst>
        <pc:spChg chg="mod">
          <ac:chgData name="Thomas Stensitzki" userId="75cafe6b-2f2a-469b-85c4-eec3b9c972ba" providerId="ADAL" clId="{04798C56-1619-44FF-99CC-951BCBEDA3B6}" dt="2021-10-18T06:58:03.546" v="3954" actId="1035"/>
          <ac:spMkLst>
            <pc:docMk/>
            <pc:sldMk cId="553914419" sldId="547"/>
            <ac:spMk id="2" creationId="{909DC09D-B9A6-4493-9A72-1CA7ECB1F5CA}"/>
          </ac:spMkLst>
        </pc:spChg>
      </pc:sldChg>
      <pc:sldChg chg="modSp add mod ord">
        <pc:chgData name="Thomas Stensitzki" userId="75cafe6b-2f2a-469b-85c4-eec3b9c972ba" providerId="ADAL" clId="{04798C56-1619-44FF-99CC-951BCBEDA3B6}" dt="2021-10-18T06:58:15.942" v="3992" actId="1036"/>
        <pc:sldMkLst>
          <pc:docMk/>
          <pc:sldMk cId="3814430672" sldId="548"/>
        </pc:sldMkLst>
        <pc:spChg chg="mod">
          <ac:chgData name="Thomas Stensitzki" userId="75cafe6b-2f2a-469b-85c4-eec3b9c972ba" providerId="ADAL" clId="{04798C56-1619-44FF-99CC-951BCBEDA3B6}" dt="2021-10-18T06:58:15.942" v="3992" actId="1036"/>
          <ac:spMkLst>
            <pc:docMk/>
            <pc:sldMk cId="3814430672" sldId="548"/>
            <ac:spMk id="2" creationId="{909DC09D-B9A6-4493-9A72-1CA7ECB1F5CA}"/>
          </ac:spMkLst>
        </pc:spChg>
      </pc:sldChg>
      <pc:sldChg chg="modSp add mod">
        <pc:chgData name="Thomas Stensitzki" userId="75cafe6b-2f2a-469b-85c4-eec3b9c972ba" providerId="ADAL" clId="{04798C56-1619-44FF-99CC-951BCBEDA3B6}" dt="2021-10-18T06:58:56.748" v="4024" actId="1076"/>
        <pc:sldMkLst>
          <pc:docMk/>
          <pc:sldMk cId="3585174972" sldId="549"/>
        </pc:sldMkLst>
        <pc:spChg chg="mod">
          <ac:chgData name="Thomas Stensitzki" userId="75cafe6b-2f2a-469b-85c4-eec3b9c972ba" providerId="ADAL" clId="{04798C56-1619-44FF-99CC-951BCBEDA3B6}" dt="2021-10-18T06:58:56.748" v="4024" actId="1076"/>
          <ac:spMkLst>
            <pc:docMk/>
            <pc:sldMk cId="3585174972" sldId="549"/>
            <ac:spMk id="2" creationId="{909DC09D-B9A6-4493-9A72-1CA7ECB1F5CA}"/>
          </ac:spMkLst>
        </pc:spChg>
      </pc:sldChg>
      <pc:sldChg chg="modSp add mod">
        <pc:chgData name="Thomas Stensitzki" userId="75cafe6b-2f2a-469b-85c4-eec3b9c972ba" providerId="ADAL" clId="{04798C56-1619-44FF-99CC-951BCBEDA3B6}" dt="2021-10-18T06:59:11.100" v="4027" actId="14100"/>
        <pc:sldMkLst>
          <pc:docMk/>
          <pc:sldMk cId="50830545" sldId="550"/>
        </pc:sldMkLst>
        <pc:spChg chg="mod">
          <ac:chgData name="Thomas Stensitzki" userId="75cafe6b-2f2a-469b-85c4-eec3b9c972ba" providerId="ADAL" clId="{04798C56-1619-44FF-99CC-951BCBEDA3B6}" dt="2021-10-18T06:59:11.100" v="4027" actId="14100"/>
          <ac:spMkLst>
            <pc:docMk/>
            <pc:sldMk cId="50830545" sldId="550"/>
            <ac:spMk id="2" creationId="{909DC09D-B9A6-4493-9A72-1CA7ECB1F5CA}"/>
          </ac:spMkLst>
        </pc:spChg>
      </pc:sldChg>
      <pc:sldChg chg="modSp add mod ord">
        <pc:chgData name="Thomas Stensitzki" userId="75cafe6b-2f2a-469b-85c4-eec3b9c972ba" providerId="ADAL" clId="{04798C56-1619-44FF-99CC-951BCBEDA3B6}" dt="2021-10-18T06:59:56.422" v="4061" actId="14100"/>
        <pc:sldMkLst>
          <pc:docMk/>
          <pc:sldMk cId="4020096464" sldId="551"/>
        </pc:sldMkLst>
        <pc:spChg chg="mod">
          <ac:chgData name="Thomas Stensitzki" userId="75cafe6b-2f2a-469b-85c4-eec3b9c972ba" providerId="ADAL" clId="{04798C56-1619-44FF-99CC-951BCBEDA3B6}" dt="2021-10-18T06:59:56.422" v="4061" actId="14100"/>
          <ac:spMkLst>
            <pc:docMk/>
            <pc:sldMk cId="4020096464" sldId="551"/>
            <ac:spMk id="2" creationId="{909DC09D-B9A6-4493-9A72-1CA7ECB1F5CA}"/>
          </ac:spMkLst>
        </pc:spChg>
      </pc:sldChg>
      <pc:sldChg chg="add ord">
        <pc:chgData name="Thomas Stensitzki" userId="75cafe6b-2f2a-469b-85c4-eec3b9c972ba" providerId="ADAL" clId="{04798C56-1619-44FF-99CC-951BCBEDA3B6}" dt="2021-10-18T06:59:43.415" v="4037"/>
        <pc:sldMkLst>
          <pc:docMk/>
          <pc:sldMk cId="2714743288" sldId="552"/>
        </pc:sldMkLst>
      </pc:sldChg>
      <pc:sldChg chg="modSp add mod">
        <pc:chgData name="Thomas Stensitzki" userId="75cafe6b-2f2a-469b-85c4-eec3b9c972ba" providerId="ADAL" clId="{04798C56-1619-44FF-99CC-951BCBEDA3B6}" dt="2021-10-18T07:00:34.488" v="4127" actId="14100"/>
        <pc:sldMkLst>
          <pc:docMk/>
          <pc:sldMk cId="941299666" sldId="553"/>
        </pc:sldMkLst>
        <pc:spChg chg="mod">
          <ac:chgData name="Thomas Stensitzki" userId="75cafe6b-2f2a-469b-85c4-eec3b9c972ba" providerId="ADAL" clId="{04798C56-1619-44FF-99CC-951BCBEDA3B6}" dt="2021-10-18T07:00:34.488" v="4127" actId="14100"/>
          <ac:spMkLst>
            <pc:docMk/>
            <pc:sldMk cId="941299666" sldId="553"/>
            <ac:spMk id="2" creationId="{909DC09D-B9A6-4493-9A72-1CA7ECB1F5CA}"/>
          </ac:spMkLst>
        </pc:spChg>
      </pc:sldChg>
      <pc:sldChg chg="modSp add mod ord">
        <pc:chgData name="Thomas Stensitzki" userId="75cafe6b-2f2a-469b-85c4-eec3b9c972ba" providerId="ADAL" clId="{04798C56-1619-44FF-99CC-951BCBEDA3B6}" dt="2021-10-18T07:01:16.434" v="4173" actId="1035"/>
        <pc:sldMkLst>
          <pc:docMk/>
          <pc:sldMk cId="2071923169" sldId="554"/>
        </pc:sldMkLst>
        <pc:spChg chg="mod">
          <ac:chgData name="Thomas Stensitzki" userId="75cafe6b-2f2a-469b-85c4-eec3b9c972ba" providerId="ADAL" clId="{04798C56-1619-44FF-99CC-951BCBEDA3B6}" dt="2021-10-18T07:01:16.434" v="4173" actId="1035"/>
          <ac:spMkLst>
            <pc:docMk/>
            <pc:sldMk cId="2071923169" sldId="554"/>
            <ac:spMk id="2" creationId="{909DC09D-B9A6-4493-9A72-1CA7ECB1F5CA}"/>
          </ac:spMkLst>
        </pc:spChg>
      </pc:sldChg>
      <pc:sldChg chg="modSp add mod ord">
        <pc:chgData name="Thomas Stensitzki" userId="75cafe6b-2f2a-469b-85c4-eec3b9c972ba" providerId="ADAL" clId="{04798C56-1619-44FF-99CC-951BCBEDA3B6}" dt="2021-10-18T07:01:53.554" v="4210" actId="1036"/>
        <pc:sldMkLst>
          <pc:docMk/>
          <pc:sldMk cId="1201850461" sldId="555"/>
        </pc:sldMkLst>
        <pc:spChg chg="mod">
          <ac:chgData name="Thomas Stensitzki" userId="75cafe6b-2f2a-469b-85c4-eec3b9c972ba" providerId="ADAL" clId="{04798C56-1619-44FF-99CC-951BCBEDA3B6}" dt="2021-10-18T07:01:53.554" v="4210" actId="1036"/>
          <ac:spMkLst>
            <pc:docMk/>
            <pc:sldMk cId="1201850461" sldId="555"/>
            <ac:spMk id="2" creationId="{909DC09D-B9A6-4493-9A72-1CA7ECB1F5CA}"/>
          </ac:spMkLst>
        </pc:spChg>
      </pc:sldChg>
      <pc:sldChg chg="add">
        <pc:chgData name="Thomas Stensitzki" userId="75cafe6b-2f2a-469b-85c4-eec3b9c972ba" providerId="ADAL" clId="{04798C56-1619-44FF-99CC-951BCBEDA3B6}" dt="2021-10-18T07:01:56.293" v="4211"/>
        <pc:sldMkLst>
          <pc:docMk/>
          <pc:sldMk cId="1634876817" sldId="556"/>
        </pc:sldMkLst>
      </pc:sldChg>
      <pc:sldChg chg="modSp add mod">
        <pc:chgData name="Thomas Stensitzki" userId="75cafe6b-2f2a-469b-85c4-eec3b9c972ba" providerId="ADAL" clId="{04798C56-1619-44FF-99CC-951BCBEDA3B6}" dt="2021-10-18T07:02:18.221" v="4260" actId="1035"/>
        <pc:sldMkLst>
          <pc:docMk/>
          <pc:sldMk cId="1953218065" sldId="557"/>
        </pc:sldMkLst>
        <pc:spChg chg="mod">
          <ac:chgData name="Thomas Stensitzki" userId="75cafe6b-2f2a-469b-85c4-eec3b9c972ba" providerId="ADAL" clId="{04798C56-1619-44FF-99CC-951BCBEDA3B6}" dt="2021-10-18T07:02:18.221" v="4260" actId="1035"/>
          <ac:spMkLst>
            <pc:docMk/>
            <pc:sldMk cId="1953218065" sldId="557"/>
            <ac:spMk id="2" creationId="{909DC09D-B9A6-4493-9A72-1CA7ECB1F5CA}"/>
          </ac:spMkLst>
        </pc:spChg>
      </pc:sldChg>
      <pc:sldChg chg="modSp add mod">
        <pc:chgData name="Thomas Stensitzki" userId="75cafe6b-2f2a-469b-85c4-eec3b9c972ba" providerId="ADAL" clId="{04798C56-1619-44FF-99CC-951BCBEDA3B6}" dt="2021-10-18T07:02:34.931" v="4294" actId="1036"/>
        <pc:sldMkLst>
          <pc:docMk/>
          <pc:sldMk cId="4180666764" sldId="558"/>
        </pc:sldMkLst>
        <pc:spChg chg="mod">
          <ac:chgData name="Thomas Stensitzki" userId="75cafe6b-2f2a-469b-85c4-eec3b9c972ba" providerId="ADAL" clId="{04798C56-1619-44FF-99CC-951BCBEDA3B6}" dt="2021-10-18T07:02:34.931" v="4294" actId="1036"/>
          <ac:spMkLst>
            <pc:docMk/>
            <pc:sldMk cId="4180666764" sldId="558"/>
            <ac:spMk id="2" creationId="{909DC09D-B9A6-4493-9A72-1CA7ECB1F5CA}"/>
          </ac:spMkLst>
        </pc:spChg>
      </pc:sldChg>
      <pc:sldChg chg="modSp add mod ord">
        <pc:chgData name="Thomas Stensitzki" userId="75cafe6b-2f2a-469b-85c4-eec3b9c972ba" providerId="ADAL" clId="{04798C56-1619-44FF-99CC-951BCBEDA3B6}" dt="2021-10-18T07:03:11.638" v="4326" actId="1036"/>
        <pc:sldMkLst>
          <pc:docMk/>
          <pc:sldMk cId="3051092088" sldId="559"/>
        </pc:sldMkLst>
        <pc:spChg chg="mod">
          <ac:chgData name="Thomas Stensitzki" userId="75cafe6b-2f2a-469b-85c4-eec3b9c972ba" providerId="ADAL" clId="{04798C56-1619-44FF-99CC-951BCBEDA3B6}" dt="2021-10-18T07:03:11.638" v="4326" actId="1036"/>
          <ac:spMkLst>
            <pc:docMk/>
            <pc:sldMk cId="3051092088" sldId="559"/>
            <ac:spMk id="2" creationId="{909DC09D-B9A6-4493-9A72-1CA7ECB1F5CA}"/>
          </ac:spMkLst>
        </pc:spChg>
      </pc:sldChg>
      <pc:sldChg chg="mod ord modShow">
        <pc:chgData name="Thomas Stensitzki" userId="75cafe6b-2f2a-469b-85c4-eec3b9c972ba" providerId="ADAL" clId="{04798C56-1619-44FF-99CC-951BCBEDA3B6}" dt="2021-10-21T13:33:51.755" v="5110" actId="729"/>
        <pc:sldMkLst>
          <pc:docMk/>
          <pc:sldMk cId="2791634409" sldId="560"/>
        </pc:sldMkLst>
      </pc:sldChg>
      <pc:sldChg chg="addSp delSp modSp add del mod">
        <pc:chgData name="Thomas Stensitzki" userId="75cafe6b-2f2a-469b-85c4-eec3b9c972ba" providerId="ADAL" clId="{04798C56-1619-44FF-99CC-951BCBEDA3B6}" dt="2021-10-21T13:33:32.121" v="5106" actId="47"/>
        <pc:sldMkLst>
          <pc:docMk/>
          <pc:sldMk cId="1728515471" sldId="561"/>
        </pc:sldMkLst>
        <pc:spChg chg="mod">
          <ac:chgData name="Thomas Stensitzki" userId="75cafe6b-2f2a-469b-85c4-eec3b9c972ba" providerId="ADAL" clId="{04798C56-1619-44FF-99CC-951BCBEDA3B6}" dt="2021-10-21T13:30:12.935" v="4830" actId="20577"/>
          <ac:spMkLst>
            <pc:docMk/>
            <pc:sldMk cId="1728515471" sldId="561"/>
            <ac:spMk id="2" creationId="{55B028BF-A9D0-4C57-86E7-6EE5916BE93B}"/>
          </ac:spMkLst>
        </pc:spChg>
        <pc:spChg chg="del">
          <ac:chgData name="Thomas Stensitzki" userId="75cafe6b-2f2a-469b-85c4-eec3b9c972ba" providerId="ADAL" clId="{04798C56-1619-44FF-99CC-951BCBEDA3B6}" dt="2021-10-21T13:30:01.997" v="4804" actId="3680"/>
          <ac:spMkLst>
            <pc:docMk/>
            <pc:sldMk cId="1728515471" sldId="561"/>
            <ac:spMk id="3" creationId="{21C24382-C9CB-4D3D-9C93-877D31F13E35}"/>
          </ac:spMkLst>
        </pc:spChg>
        <pc:graphicFrameChg chg="add mod ord modGraphic">
          <ac:chgData name="Thomas Stensitzki" userId="75cafe6b-2f2a-469b-85c4-eec3b9c972ba" providerId="ADAL" clId="{04798C56-1619-44FF-99CC-951BCBEDA3B6}" dt="2021-10-21T13:33:22.728" v="5104" actId="20577"/>
          <ac:graphicFrameMkLst>
            <pc:docMk/>
            <pc:sldMk cId="1728515471" sldId="561"/>
            <ac:graphicFrameMk id="4" creationId="{55EDB790-67BC-42E5-B64A-5647620B8383}"/>
          </ac:graphicFrameMkLst>
        </pc:graphicFrameChg>
      </pc:sldChg>
    </pc:docChg>
  </pc:docChgLst>
  <pc:docChgLst>
    <pc:chgData name="Thomas Stensitzki" userId="75cafe6b-2f2a-469b-85c4-eec3b9c972ba" providerId="ADAL" clId="{0B87B391-63D8-4860-8354-FA216B9E4DD7}"/>
    <pc:docChg chg="undo custSel modSld">
      <pc:chgData name="Thomas Stensitzki" userId="75cafe6b-2f2a-469b-85c4-eec3b9c972ba" providerId="ADAL" clId="{0B87B391-63D8-4860-8354-FA216B9E4DD7}" dt="2023-08-14T14:33:55.941" v="46"/>
      <pc:docMkLst>
        <pc:docMk/>
      </pc:docMkLst>
      <pc:sldChg chg="modSp mod">
        <pc:chgData name="Thomas Stensitzki" userId="75cafe6b-2f2a-469b-85c4-eec3b9c972ba" providerId="ADAL" clId="{0B87B391-63D8-4860-8354-FA216B9E4DD7}" dt="2023-08-14T14:32:16.531" v="20" actId="6549"/>
        <pc:sldMkLst>
          <pc:docMk/>
          <pc:sldMk cId="671489701" sldId="256"/>
        </pc:sldMkLst>
        <pc:spChg chg="mod">
          <ac:chgData name="Thomas Stensitzki" userId="75cafe6b-2f2a-469b-85c4-eec3b9c972ba" providerId="ADAL" clId="{0B87B391-63D8-4860-8354-FA216B9E4DD7}" dt="2023-08-14T14:32:16.531" v="20" actId="6549"/>
          <ac:spMkLst>
            <pc:docMk/>
            <pc:sldMk cId="671489701" sldId="256"/>
            <ac:spMk id="3" creationId="{CBA95633-B02D-4A15-A8B1-A38E0A70FD27}"/>
          </ac:spMkLst>
        </pc:spChg>
      </pc:sldChg>
      <pc:sldChg chg="modSp mod">
        <pc:chgData name="Thomas Stensitzki" userId="75cafe6b-2f2a-469b-85c4-eec3b9c972ba" providerId="ADAL" clId="{0B87B391-63D8-4860-8354-FA216B9E4DD7}" dt="2023-08-14T14:33:55.941" v="46"/>
        <pc:sldMkLst>
          <pc:docMk/>
          <pc:sldMk cId="2855324227" sldId="257"/>
        </pc:sldMkLst>
        <pc:graphicFrameChg chg="mod modGraphic">
          <ac:chgData name="Thomas Stensitzki" userId="75cafe6b-2f2a-469b-85c4-eec3b9c972ba" providerId="ADAL" clId="{0B87B391-63D8-4860-8354-FA216B9E4DD7}" dt="2023-08-14T14:33:55.941" v="46"/>
          <ac:graphicFrameMkLst>
            <pc:docMk/>
            <pc:sldMk cId="2855324227" sldId="257"/>
            <ac:graphicFrameMk id="6" creationId="{0F955DCC-462D-431D-BBDE-26F10687D590}"/>
          </ac:graphicFrameMkLst>
        </pc:graphicFrameChg>
      </pc:sldChg>
    </pc:docChg>
  </pc:docChgLst>
  <pc:docChgLst>
    <pc:chgData name="Thomas Stensitzki" userId="75cafe6b-2f2a-469b-85c4-eec3b9c972ba" providerId="ADAL" clId="{6E7BC4CE-A1B6-E044-AB96-223C5FC8A115}"/>
    <pc:docChg chg="custSel addSld delSld modSld sldOrd modSection">
      <pc:chgData name="Thomas Stensitzki" userId="75cafe6b-2f2a-469b-85c4-eec3b9c972ba" providerId="ADAL" clId="{6E7BC4CE-A1B6-E044-AB96-223C5FC8A115}" dt="2022-05-12T06:08:02.427" v="1358" actId="20577"/>
      <pc:docMkLst>
        <pc:docMk/>
      </pc:docMkLst>
      <pc:sldChg chg="modSp">
        <pc:chgData name="Thomas Stensitzki" userId="75cafe6b-2f2a-469b-85c4-eec3b9c972ba" providerId="ADAL" clId="{6E7BC4CE-A1B6-E044-AB96-223C5FC8A115}" dt="2022-05-12T06:08:02.427" v="1358" actId="20577"/>
        <pc:sldMkLst>
          <pc:docMk/>
          <pc:sldMk cId="2855324227" sldId="257"/>
        </pc:sldMkLst>
        <pc:graphicFrameChg chg="modGraphic">
          <ac:chgData name="Thomas Stensitzki" userId="75cafe6b-2f2a-469b-85c4-eec3b9c972ba" providerId="ADAL" clId="{6E7BC4CE-A1B6-E044-AB96-223C5FC8A115}" dt="2022-05-12T06:08:02.427" v="1358" actId="20577"/>
          <ac:graphicFrameMkLst>
            <pc:docMk/>
            <pc:sldMk cId="2855324227" sldId="257"/>
            <ac:graphicFrameMk id="6" creationId="{0F955DCC-462D-431D-BBDE-26F10687D590}"/>
          </ac:graphicFrameMkLst>
        </pc:graphicFrameChg>
      </pc:sldChg>
      <pc:sldChg chg="modSp">
        <pc:chgData name="Thomas Stensitzki" userId="75cafe6b-2f2a-469b-85c4-eec3b9c972ba" providerId="ADAL" clId="{6E7BC4CE-A1B6-E044-AB96-223C5FC8A115}" dt="2022-04-24T18:08:34.807" v="1293" actId="20577"/>
        <pc:sldMkLst>
          <pc:docMk/>
          <pc:sldMk cId="4007670073" sldId="268"/>
        </pc:sldMkLst>
        <pc:spChg chg="mod">
          <ac:chgData name="Thomas Stensitzki" userId="75cafe6b-2f2a-469b-85c4-eec3b9c972ba" providerId="ADAL" clId="{6E7BC4CE-A1B6-E044-AB96-223C5FC8A115}" dt="2022-04-24T18:08:34.807" v="1293" actId="20577"/>
          <ac:spMkLst>
            <pc:docMk/>
            <pc:sldMk cId="4007670073" sldId="268"/>
            <ac:spMk id="5" creationId="{F3459BE7-1731-4733-A912-12977C68CFD6}"/>
          </ac:spMkLst>
        </pc:spChg>
      </pc:sldChg>
      <pc:sldChg chg="del">
        <pc:chgData name="Thomas Stensitzki" userId="75cafe6b-2f2a-469b-85c4-eec3b9c972ba" providerId="ADAL" clId="{6E7BC4CE-A1B6-E044-AB96-223C5FC8A115}" dt="2022-04-24T18:09:29.350" v="1296" actId="2696"/>
        <pc:sldMkLst>
          <pc:docMk/>
          <pc:sldMk cId="53967156" sldId="297"/>
        </pc:sldMkLst>
      </pc:sldChg>
      <pc:sldChg chg="modSp">
        <pc:chgData name="Thomas Stensitzki" userId="75cafe6b-2f2a-469b-85c4-eec3b9c972ba" providerId="ADAL" clId="{6E7BC4CE-A1B6-E044-AB96-223C5FC8A115}" dt="2022-04-24T18:06:19.776" v="1230" actId="113"/>
        <pc:sldMkLst>
          <pc:docMk/>
          <pc:sldMk cId="2680249750" sldId="595"/>
        </pc:sldMkLst>
        <pc:spChg chg="mod">
          <ac:chgData name="Thomas Stensitzki" userId="75cafe6b-2f2a-469b-85c4-eec3b9c972ba" providerId="ADAL" clId="{6E7BC4CE-A1B6-E044-AB96-223C5FC8A115}" dt="2022-04-24T18:06:03.085" v="1226" actId="113"/>
          <ac:spMkLst>
            <pc:docMk/>
            <pc:sldMk cId="2680249750" sldId="595"/>
            <ac:spMk id="6" creationId="{03D53420-11EA-4D1B-9F13-CC90F632184E}"/>
          </ac:spMkLst>
        </pc:spChg>
        <pc:spChg chg="mod">
          <ac:chgData name="Thomas Stensitzki" userId="75cafe6b-2f2a-469b-85c4-eec3b9c972ba" providerId="ADAL" clId="{6E7BC4CE-A1B6-E044-AB96-223C5FC8A115}" dt="2022-04-24T18:06:10.863" v="1228" actId="255"/>
          <ac:spMkLst>
            <pc:docMk/>
            <pc:sldMk cId="2680249750" sldId="595"/>
            <ac:spMk id="7" creationId="{36EC7950-C586-452E-8736-1D139437B0BE}"/>
          </ac:spMkLst>
        </pc:spChg>
        <pc:spChg chg="mod">
          <ac:chgData name="Thomas Stensitzki" userId="75cafe6b-2f2a-469b-85c4-eec3b9c972ba" providerId="ADAL" clId="{6E7BC4CE-A1B6-E044-AB96-223C5FC8A115}" dt="2022-04-24T18:06:19.776" v="1230" actId="113"/>
          <ac:spMkLst>
            <pc:docMk/>
            <pc:sldMk cId="2680249750" sldId="595"/>
            <ac:spMk id="9" creationId="{183E4717-94DF-47D2-9915-B0740BADCA26}"/>
          </ac:spMkLst>
        </pc:spChg>
      </pc:sldChg>
      <pc:sldChg chg="modSp mod modClrScheme chgLayout">
        <pc:chgData name="Thomas Stensitzki" userId="75cafe6b-2f2a-469b-85c4-eec3b9c972ba" providerId="ADAL" clId="{6E7BC4CE-A1B6-E044-AB96-223C5FC8A115}" dt="2022-04-23T13:31:12.477" v="15" actId="1076"/>
        <pc:sldMkLst>
          <pc:docMk/>
          <pc:sldMk cId="1109434383" sldId="596"/>
        </pc:sldMkLst>
        <pc:spChg chg="mod ord">
          <ac:chgData name="Thomas Stensitzki" userId="75cafe6b-2f2a-469b-85c4-eec3b9c972ba" providerId="ADAL" clId="{6E7BC4CE-A1B6-E044-AB96-223C5FC8A115}" dt="2022-04-23T13:31:11.298" v="14" actId="20577"/>
          <ac:spMkLst>
            <pc:docMk/>
            <pc:sldMk cId="1109434383" sldId="596"/>
            <ac:spMk id="4" creationId="{041C0BDF-2374-4ACD-9289-35E2F2C5124D}"/>
          </ac:spMkLst>
        </pc:spChg>
        <pc:spChg chg="mod ord">
          <ac:chgData name="Thomas Stensitzki" userId="75cafe6b-2f2a-469b-85c4-eec3b9c972ba" providerId="ADAL" clId="{6E7BC4CE-A1B6-E044-AB96-223C5FC8A115}" dt="2022-04-23T13:31:12.477" v="15" actId="1076"/>
          <ac:spMkLst>
            <pc:docMk/>
            <pc:sldMk cId="1109434383" sldId="596"/>
            <ac:spMk id="5" creationId="{B1886A4C-E9E4-4111-BFDC-F9784FD52406}"/>
          </ac:spMkLst>
        </pc:spChg>
      </pc:sldChg>
      <pc:sldChg chg="modSp new mod modClrScheme chgLayout">
        <pc:chgData name="Thomas Stensitzki" userId="75cafe6b-2f2a-469b-85c4-eec3b9c972ba" providerId="ADAL" clId="{6E7BC4CE-A1B6-E044-AB96-223C5FC8A115}" dt="2022-04-23T13:35:57.013" v="396" actId="20577"/>
        <pc:sldMkLst>
          <pc:docMk/>
          <pc:sldMk cId="2098288780" sldId="597"/>
        </pc:sldMkLst>
        <pc:spChg chg="mod ord">
          <ac:chgData name="Thomas Stensitzki" userId="75cafe6b-2f2a-469b-85c4-eec3b9c972ba" providerId="ADAL" clId="{6E7BC4CE-A1B6-E044-AB96-223C5FC8A115}" dt="2022-04-23T13:31:43.130" v="38" actId="20577"/>
          <ac:spMkLst>
            <pc:docMk/>
            <pc:sldMk cId="2098288780" sldId="597"/>
            <ac:spMk id="2" creationId="{42DA031A-C25A-9457-35EB-F99DDD69A1A1}"/>
          </ac:spMkLst>
        </pc:spChg>
        <pc:spChg chg="mod ord">
          <ac:chgData name="Thomas Stensitzki" userId="75cafe6b-2f2a-469b-85c4-eec3b9c972ba" providerId="ADAL" clId="{6E7BC4CE-A1B6-E044-AB96-223C5FC8A115}" dt="2022-04-23T13:35:57.013" v="396" actId="20577"/>
          <ac:spMkLst>
            <pc:docMk/>
            <pc:sldMk cId="2098288780" sldId="597"/>
            <ac:spMk id="3" creationId="{26C8DA23-4FF8-3D58-B509-BFFD25A330F7}"/>
          </ac:spMkLst>
        </pc:spChg>
      </pc:sldChg>
      <pc:sldChg chg="modSp new">
        <pc:chgData name="Thomas Stensitzki" userId="75cafe6b-2f2a-469b-85c4-eec3b9c972ba" providerId="ADAL" clId="{6E7BC4CE-A1B6-E044-AB96-223C5FC8A115}" dt="2022-04-23T13:36:46.123" v="424" actId="20577"/>
        <pc:sldMkLst>
          <pc:docMk/>
          <pc:sldMk cId="2122712351" sldId="598"/>
        </pc:sldMkLst>
        <pc:spChg chg="mod">
          <ac:chgData name="Thomas Stensitzki" userId="75cafe6b-2f2a-469b-85c4-eec3b9c972ba" providerId="ADAL" clId="{6E7BC4CE-A1B6-E044-AB96-223C5FC8A115}" dt="2022-04-23T13:36:46.123" v="424" actId="20577"/>
          <ac:spMkLst>
            <pc:docMk/>
            <pc:sldMk cId="2122712351" sldId="598"/>
            <ac:spMk id="2" creationId="{1BC691DD-DCF8-E22A-F993-2C3F954C9BA6}"/>
          </ac:spMkLst>
        </pc:spChg>
      </pc:sldChg>
      <pc:sldChg chg="addSp delSp modSp add del ord">
        <pc:chgData name="Thomas Stensitzki" userId="75cafe6b-2f2a-469b-85c4-eec3b9c972ba" providerId="ADAL" clId="{6E7BC4CE-A1B6-E044-AB96-223C5FC8A115}" dt="2022-04-24T18:04:40.004" v="1225" actId="20577"/>
        <pc:sldMkLst>
          <pc:docMk/>
          <pc:sldMk cId="3219683340" sldId="600"/>
        </pc:sldMkLst>
        <pc:spChg chg="mod">
          <ac:chgData name="Thomas Stensitzki" userId="75cafe6b-2f2a-469b-85c4-eec3b9c972ba" providerId="ADAL" clId="{6E7BC4CE-A1B6-E044-AB96-223C5FC8A115}" dt="2022-04-24T18:01:09.387" v="1156" actId="20577"/>
          <ac:spMkLst>
            <pc:docMk/>
            <pc:sldMk cId="3219683340" sldId="600"/>
            <ac:spMk id="2" creationId="{42DA031A-C25A-9457-35EB-F99DDD69A1A1}"/>
          </ac:spMkLst>
        </pc:spChg>
        <pc:spChg chg="del mod">
          <ac:chgData name="Thomas Stensitzki" userId="75cafe6b-2f2a-469b-85c4-eec3b9c972ba" providerId="ADAL" clId="{6E7BC4CE-A1B6-E044-AB96-223C5FC8A115}" dt="2022-04-24T18:00:06.154" v="1150" actId="478"/>
          <ac:spMkLst>
            <pc:docMk/>
            <pc:sldMk cId="3219683340" sldId="600"/>
            <ac:spMk id="3" creationId="{26C8DA23-4FF8-3D58-B509-BFFD25A330F7}"/>
          </ac:spMkLst>
        </pc:spChg>
        <pc:spChg chg="add del mod">
          <ac:chgData name="Thomas Stensitzki" userId="75cafe6b-2f2a-469b-85c4-eec3b9c972ba" providerId="ADAL" clId="{6E7BC4CE-A1B6-E044-AB96-223C5FC8A115}" dt="2022-04-24T18:00:08.778" v="1151" actId="478"/>
          <ac:spMkLst>
            <pc:docMk/>
            <pc:sldMk cId="3219683340" sldId="600"/>
            <ac:spMk id="5" creationId="{AF05C41D-32C8-3AB4-098C-0BC45CAC0443}"/>
          </ac:spMkLst>
        </pc:spChg>
        <pc:spChg chg="add mod">
          <ac:chgData name="Thomas Stensitzki" userId="75cafe6b-2f2a-469b-85c4-eec3b9c972ba" providerId="ADAL" clId="{6E7BC4CE-A1B6-E044-AB96-223C5FC8A115}" dt="2022-04-24T18:00:55.964" v="1155" actId="17032"/>
          <ac:spMkLst>
            <pc:docMk/>
            <pc:sldMk cId="3219683340" sldId="600"/>
            <ac:spMk id="6" creationId="{B8352C24-DAF7-AA4A-95ED-E9347C155D0F}"/>
          </ac:spMkLst>
        </pc:spChg>
        <pc:spChg chg="add mod">
          <ac:chgData name="Thomas Stensitzki" userId="75cafe6b-2f2a-469b-85c4-eec3b9c972ba" providerId="ADAL" clId="{6E7BC4CE-A1B6-E044-AB96-223C5FC8A115}" dt="2022-04-24T18:03:55.434" v="1181" actId="208"/>
          <ac:spMkLst>
            <pc:docMk/>
            <pc:sldMk cId="3219683340" sldId="600"/>
            <ac:spMk id="7" creationId="{74833D07-425E-D0B9-7DE1-6DDF33012B13}"/>
          </ac:spMkLst>
        </pc:spChg>
        <pc:spChg chg="add mod">
          <ac:chgData name="Thomas Stensitzki" userId="75cafe6b-2f2a-469b-85c4-eec3b9c972ba" providerId="ADAL" clId="{6E7BC4CE-A1B6-E044-AB96-223C5FC8A115}" dt="2022-04-24T18:04:40.004" v="1225" actId="20577"/>
          <ac:spMkLst>
            <pc:docMk/>
            <pc:sldMk cId="3219683340" sldId="600"/>
            <ac:spMk id="9" creationId="{5D009486-2F96-7449-A37B-1EAC2B59D33E}"/>
          </ac:spMkLst>
        </pc:spChg>
      </pc:sldChg>
      <pc:sldChg chg="modSp add">
        <pc:chgData name="Thomas Stensitzki" userId="75cafe6b-2f2a-469b-85c4-eec3b9c972ba" providerId="ADAL" clId="{6E7BC4CE-A1B6-E044-AB96-223C5FC8A115}" dt="2022-04-24T17:32:32.457" v="550" actId="20577"/>
        <pc:sldMkLst>
          <pc:docMk/>
          <pc:sldMk cId="3760544869" sldId="603"/>
        </pc:sldMkLst>
        <pc:spChg chg="mod">
          <ac:chgData name="Thomas Stensitzki" userId="75cafe6b-2f2a-469b-85c4-eec3b9c972ba" providerId="ADAL" clId="{6E7BC4CE-A1B6-E044-AB96-223C5FC8A115}" dt="2022-04-24T17:32:32.457" v="550" actId="20577"/>
          <ac:spMkLst>
            <pc:docMk/>
            <pc:sldMk cId="3760544869" sldId="603"/>
            <ac:spMk id="2" creationId="{42DA031A-C25A-9457-35EB-F99DDD69A1A1}"/>
          </ac:spMkLst>
        </pc:spChg>
      </pc:sldChg>
      <pc:sldChg chg="modSp add">
        <pc:chgData name="Thomas Stensitzki" userId="75cafe6b-2f2a-469b-85c4-eec3b9c972ba" providerId="ADAL" clId="{6E7BC4CE-A1B6-E044-AB96-223C5FC8A115}" dt="2022-04-24T18:01:15.346" v="1157" actId="20577"/>
        <pc:sldMkLst>
          <pc:docMk/>
          <pc:sldMk cId="4098706796" sldId="604"/>
        </pc:sldMkLst>
        <pc:spChg chg="mod">
          <ac:chgData name="Thomas Stensitzki" userId="75cafe6b-2f2a-469b-85c4-eec3b9c972ba" providerId="ADAL" clId="{6E7BC4CE-A1B6-E044-AB96-223C5FC8A115}" dt="2022-04-24T18:01:15.346" v="1157" actId="20577"/>
          <ac:spMkLst>
            <pc:docMk/>
            <pc:sldMk cId="4098706796" sldId="604"/>
            <ac:spMk id="2" creationId="{42DA031A-C25A-9457-35EB-F99DDD69A1A1}"/>
          </ac:spMkLst>
        </pc:spChg>
        <pc:spChg chg="mod">
          <ac:chgData name="Thomas Stensitzki" userId="75cafe6b-2f2a-469b-85c4-eec3b9c972ba" providerId="ADAL" clId="{6E7BC4CE-A1B6-E044-AB96-223C5FC8A115}" dt="2022-04-24T17:40:57.489" v="1143" actId="20577"/>
          <ac:spMkLst>
            <pc:docMk/>
            <pc:sldMk cId="4098706796" sldId="604"/>
            <ac:spMk id="3" creationId="{26C8DA23-4FF8-3D58-B509-BFFD25A330F7}"/>
          </ac:spMkLst>
        </pc:spChg>
      </pc:sldChg>
      <pc:sldChg chg="add del">
        <pc:chgData name="Thomas Stensitzki" userId="75cafe6b-2f2a-469b-85c4-eec3b9c972ba" providerId="ADAL" clId="{6E7BC4CE-A1B6-E044-AB96-223C5FC8A115}" dt="2022-04-24T17:58:36.350" v="1147" actId="2696"/>
        <pc:sldMkLst>
          <pc:docMk/>
          <pc:sldMk cId="681312876" sldId="605"/>
        </pc:sldMkLst>
      </pc:sldChg>
      <pc:sldChg chg="modSp add">
        <pc:chgData name="Thomas Stensitzki" userId="75cafe6b-2f2a-469b-85c4-eec3b9c972ba" providerId="ADAL" clId="{6E7BC4CE-A1B6-E044-AB96-223C5FC8A115}" dt="2022-04-24T18:08:20.579" v="1290" actId="20577"/>
        <pc:sldMkLst>
          <pc:docMk/>
          <pc:sldMk cId="4145245121" sldId="605"/>
        </pc:sldMkLst>
        <pc:spChg chg="mod">
          <ac:chgData name="Thomas Stensitzki" userId="75cafe6b-2f2a-469b-85c4-eec3b9c972ba" providerId="ADAL" clId="{6E7BC4CE-A1B6-E044-AB96-223C5FC8A115}" dt="2022-04-24T18:08:20.579" v="1290" actId="20577"/>
          <ac:spMkLst>
            <pc:docMk/>
            <pc:sldMk cId="4145245121" sldId="605"/>
            <ac:spMk id="4" creationId="{6C908133-7121-4AFA-B3AD-60A9B860C54F}"/>
          </ac:spMkLst>
        </pc:spChg>
      </pc:sldChg>
      <pc:sldChg chg="modSp add ord">
        <pc:chgData name="Thomas Stensitzki" userId="75cafe6b-2f2a-469b-85c4-eec3b9c972ba" providerId="ADAL" clId="{6E7BC4CE-A1B6-E044-AB96-223C5FC8A115}" dt="2022-04-24T18:09:53.301" v="1346" actId="20577"/>
        <pc:sldMkLst>
          <pc:docMk/>
          <pc:sldMk cId="1856989855" sldId="606"/>
        </pc:sldMkLst>
        <pc:spChg chg="mod">
          <ac:chgData name="Thomas Stensitzki" userId="75cafe6b-2f2a-469b-85c4-eec3b9c972ba" providerId="ADAL" clId="{6E7BC4CE-A1B6-E044-AB96-223C5FC8A115}" dt="2022-04-24T18:09:53.301" v="1346" actId="20577"/>
          <ac:spMkLst>
            <pc:docMk/>
            <pc:sldMk cId="1856989855" sldId="606"/>
            <ac:spMk id="5" creationId="{F3459BE7-1731-4733-A912-12977C68CFD6}"/>
          </ac:spMkLst>
        </pc:spChg>
      </pc:sldChg>
    </pc:docChg>
  </pc:docChgLst>
  <pc:docChgLst>
    <pc:chgData name="Thomas Stensitzki" userId="75cafe6b-2f2a-469b-85c4-eec3b9c972ba" providerId="ADAL" clId="{ADB70B9A-E028-484E-93D9-2068C3FA1355}"/>
    <pc:docChg chg="undo custSel addSld delSld modSld sldOrd addSection delSection modSection">
      <pc:chgData name="Thomas Stensitzki" userId="75cafe6b-2f2a-469b-85c4-eec3b9c972ba" providerId="ADAL" clId="{ADB70B9A-E028-484E-93D9-2068C3FA1355}" dt="2023-03-02T18:00:37.343" v="1507" actId="6549"/>
      <pc:docMkLst>
        <pc:docMk/>
      </pc:docMkLst>
      <pc:sldChg chg="modSp mod modTransition">
        <pc:chgData name="Thomas Stensitzki" userId="75cafe6b-2f2a-469b-85c4-eec3b9c972ba" providerId="ADAL" clId="{ADB70B9A-E028-484E-93D9-2068C3FA1355}" dt="2023-03-01T15:15:23.115" v="1497"/>
        <pc:sldMkLst>
          <pc:docMk/>
          <pc:sldMk cId="671489701" sldId="256"/>
        </pc:sldMkLst>
        <pc:spChg chg="mod">
          <ac:chgData name="Thomas Stensitzki" userId="75cafe6b-2f2a-469b-85c4-eec3b9c972ba" providerId="ADAL" clId="{ADB70B9A-E028-484E-93D9-2068C3FA1355}" dt="2023-02-22T14:00:15.780" v="28" actId="20577"/>
          <ac:spMkLst>
            <pc:docMk/>
            <pc:sldMk cId="671489701" sldId="256"/>
            <ac:spMk id="3" creationId="{CBA95633-B02D-4A15-A8B1-A38E0A70FD27}"/>
          </ac:spMkLst>
        </pc:spChg>
      </pc:sldChg>
      <pc:sldChg chg="modSp mod modTransition">
        <pc:chgData name="Thomas Stensitzki" userId="75cafe6b-2f2a-469b-85c4-eec3b9c972ba" providerId="ADAL" clId="{ADB70B9A-E028-484E-93D9-2068C3FA1355}" dt="2023-03-01T15:15:23.115" v="1497"/>
        <pc:sldMkLst>
          <pc:docMk/>
          <pc:sldMk cId="2855324227" sldId="257"/>
        </pc:sldMkLst>
        <pc:graphicFrameChg chg="mod modGraphic">
          <ac:chgData name="Thomas Stensitzki" userId="75cafe6b-2f2a-469b-85c4-eec3b9c972ba" providerId="ADAL" clId="{ADB70B9A-E028-484E-93D9-2068C3FA1355}" dt="2023-02-22T14:02:06.872" v="64" actId="20577"/>
          <ac:graphicFrameMkLst>
            <pc:docMk/>
            <pc:sldMk cId="2855324227" sldId="257"/>
            <ac:graphicFrameMk id="6" creationId="{0F955DCC-462D-431D-BBDE-26F10687D590}"/>
          </ac:graphicFrameMkLst>
        </pc:graphicFrameChg>
      </pc:sldChg>
      <pc:sldChg chg="modSp mod modTransition">
        <pc:chgData name="Thomas Stensitzki" userId="75cafe6b-2f2a-469b-85c4-eec3b9c972ba" providerId="ADAL" clId="{ADB70B9A-E028-484E-93D9-2068C3FA1355}" dt="2023-03-01T15:20:25.153" v="1501" actId="20577"/>
        <pc:sldMkLst>
          <pc:docMk/>
          <pc:sldMk cId="3332792154" sldId="258"/>
        </pc:sldMkLst>
        <pc:spChg chg="mod">
          <ac:chgData name="Thomas Stensitzki" userId="75cafe6b-2f2a-469b-85c4-eec3b9c972ba" providerId="ADAL" clId="{ADB70B9A-E028-484E-93D9-2068C3FA1355}" dt="2023-03-01T15:20:25.153" v="1501" actId="20577"/>
          <ac:spMkLst>
            <pc:docMk/>
            <pc:sldMk cId="3332792154" sldId="258"/>
            <ac:spMk id="3" creationId="{3A5A44EB-7FB9-473A-8ED3-C49DDD2E65AB}"/>
          </ac:spMkLst>
        </pc:spChg>
      </pc:sldChg>
      <pc:sldChg chg="addSp modSp mod modTransition modShow">
        <pc:chgData name="Thomas Stensitzki" userId="75cafe6b-2f2a-469b-85c4-eec3b9c972ba" providerId="ADAL" clId="{ADB70B9A-E028-484E-93D9-2068C3FA1355}" dt="2023-03-02T14:47:15.346" v="1505" actId="729"/>
        <pc:sldMkLst>
          <pc:docMk/>
          <pc:sldMk cId="1545829058" sldId="259"/>
        </pc:sldMkLst>
        <pc:picChg chg="add mod">
          <ac:chgData name="Thomas Stensitzki" userId="75cafe6b-2f2a-469b-85c4-eec3b9c972ba" providerId="ADAL" clId="{ADB70B9A-E028-484E-93D9-2068C3FA1355}" dt="2023-03-02T14:47:02.317" v="1504" actId="1076"/>
          <ac:picMkLst>
            <pc:docMk/>
            <pc:sldMk cId="1545829058" sldId="259"/>
            <ac:picMk id="4" creationId="{31DC9F61-9044-6FE5-0374-686D575A8A28}"/>
          </ac:picMkLst>
        </pc:picChg>
      </pc:sldChg>
      <pc:sldChg chg="modSp mod modTransition">
        <pc:chgData name="Thomas Stensitzki" userId="75cafe6b-2f2a-469b-85c4-eec3b9c972ba" providerId="ADAL" clId="{ADB70B9A-E028-484E-93D9-2068C3FA1355}" dt="2023-03-01T15:15:23.115" v="1497"/>
        <pc:sldMkLst>
          <pc:docMk/>
          <pc:sldMk cId="2698998357" sldId="260"/>
        </pc:sldMkLst>
        <pc:spChg chg="mod">
          <ac:chgData name="Thomas Stensitzki" userId="75cafe6b-2f2a-469b-85c4-eec3b9c972ba" providerId="ADAL" clId="{ADB70B9A-E028-484E-93D9-2068C3FA1355}" dt="2023-02-22T14:01:22.756" v="51" actId="20577"/>
          <ac:spMkLst>
            <pc:docMk/>
            <pc:sldMk cId="2698998357" sldId="260"/>
            <ac:spMk id="4" creationId="{F3A15CBD-C746-44A3-A4F0-4898CE2F02E6}"/>
          </ac:spMkLst>
        </pc:spChg>
        <pc:spChg chg="mod">
          <ac:chgData name="Thomas Stensitzki" userId="75cafe6b-2f2a-469b-85c4-eec3b9c972ba" providerId="ADAL" clId="{ADB70B9A-E028-484E-93D9-2068C3FA1355}" dt="2023-02-22T14:01:17.588" v="50" actId="6549"/>
          <ac:spMkLst>
            <pc:docMk/>
            <pc:sldMk cId="2698998357" sldId="260"/>
            <ac:spMk id="5" creationId="{F3459BE7-1731-4733-A912-12977C68CFD6}"/>
          </ac:spMkLst>
        </pc:spChg>
      </pc:sldChg>
      <pc:sldChg chg="modSp add mod modTransition">
        <pc:chgData name="Thomas Stensitzki" userId="75cafe6b-2f2a-469b-85c4-eec3b9c972ba" providerId="ADAL" clId="{ADB70B9A-E028-484E-93D9-2068C3FA1355}" dt="2023-03-01T15:15:23.115" v="1497"/>
        <pc:sldMkLst>
          <pc:docMk/>
          <pc:sldMk cId="4007670073" sldId="268"/>
        </pc:sldMkLst>
        <pc:spChg chg="mod">
          <ac:chgData name="Thomas Stensitzki" userId="75cafe6b-2f2a-469b-85c4-eec3b9c972ba" providerId="ADAL" clId="{ADB70B9A-E028-484E-93D9-2068C3FA1355}" dt="2023-02-22T14:02:51.043" v="71" actId="20577"/>
          <ac:spMkLst>
            <pc:docMk/>
            <pc:sldMk cId="4007670073" sldId="268"/>
            <ac:spMk id="5" creationId="{F3459BE7-1731-4733-A912-12977C68CFD6}"/>
          </ac:spMkLst>
        </pc:spChg>
      </pc:sldChg>
      <pc:sldChg chg="modSp mod modTransition">
        <pc:chgData name="Thomas Stensitzki" userId="75cafe6b-2f2a-469b-85c4-eec3b9c972ba" providerId="ADAL" clId="{ADB70B9A-E028-484E-93D9-2068C3FA1355}" dt="2023-03-01T15:15:23.115" v="1497"/>
        <pc:sldMkLst>
          <pc:docMk/>
          <pc:sldMk cId="2721051844" sldId="269"/>
        </pc:sldMkLst>
        <pc:spChg chg="mod">
          <ac:chgData name="Thomas Stensitzki" userId="75cafe6b-2f2a-469b-85c4-eec3b9c972ba" providerId="ADAL" clId="{ADB70B9A-E028-484E-93D9-2068C3FA1355}" dt="2023-02-22T14:05:35.079" v="134" actId="20577"/>
          <ac:spMkLst>
            <pc:docMk/>
            <pc:sldMk cId="2721051844" sldId="269"/>
            <ac:spMk id="5" creationId="{C24DACB5-1BEC-4C86-9652-BAFD8DE56FEF}"/>
          </ac:spMkLst>
        </pc:spChg>
      </pc:sldChg>
      <pc:sldChg chg="modTransition">
        <pc:chgData name="Thomas Stensitzki" userId="75cafe6b-2f2a-469b-85c4-eec3b9c972ba" providerId="ADAL" clId="{ADB70B9A-E028-484E-93D9-2068C3FA1355}" dt="2023-03-01T15:15:23.115" v="1497"/>
        <pc:sldMkLst>
          <pc:docMk/>
          <pc:sldMk cId="1928334901" sldId="295"/>
        </pc:sldMkLst>
      </pc:sldChg>
      <pc:sldChg chg="modTransition">
        <pc:chgData name="Thomas Stensitzki" userId="75cafe6b-2f2a-469b-85c4-eec3b9c972ba" providerId="ADAL" clId="{ADB70B9A-E028-484E-93D9-2068C3FA1355}" dt="2023-03-01T15:15:23.115" v="1497"/>
        <pc:sldMkLst>
          <pc:docMk/>
          <pc:sldMk cId="2814967912" sldId="311"/>
        </pc:sldMkLst>
      </pc:sldChg>
      <pc:sldChg chg="modSp add mod modTransition">
        <pc:chgData name="Thomas Stensitzki" userId="75cafe6b-2f2a-469b-85c4-eec3b9c972ba" providerId="ADAL" clId="{ADB70B9A-E028-484E-93D9-2068C3FA1355}" dt="2023-03-01T15:15:23.115" v="1497"/>
        <pc:sldMkLst>
          <pc:docMk/>
          <pc:sldMk cId="2227487991" sldId="378"/>
        </pc:sldMkLst>
        <pc:spChg chg="mod">
          <ac:chgData name="Thomas Stensitzki" userId="75cafe6b-2f2a-469b-85c4-eec3b9c972ba" providerId="ADAL" clId="{ADB70B9A-E028-484E-93D9-2068C3FA1355}" dt="2023-02-22T15:21:53.403" v="260" actId="14100"/>
          <ac:spMkLst>
            <pc:docMk/>
            <pc:sldMk cId="2227487991" sldId="378"/>
            <ac:spMk id="2" creationId="{909DC09D-B9A6-4493-9A72-1CA7ECB1F5CA}"/>
          </ac:spMkLst>
        </pc:spChg>
        <pc:spChg chg="mod">
          <ac:chgData name="Thomas Stensitzki" userId="75cafe6b-2f2a-469b-85c4-eec3b9c972ba" providerId="ADAL" clId="{ADB70B9A-E028-484E-93D9-2068C3FA1355}" dt="2023-03-01T13:32:18.696" v="1356"/>
          <ac:spMkLst>
            <pc:docMk/>
            <pc:sldMk cId="2227487991" sldId="378"/>
            <ac:spMk id="5" creationId="{C24DACB5-1BEC-4C86-9652-BAFD8DE56FEF}"/>
          </ac:spMkLst>
        </pc:spChg>
      </pc:sldChg>
      <pc:sldChg chg="modTransition">
        <pc:chgData name="Thomas Stensitzki" userId="75cafe6b-2f2a-469b-85c4-eec3b9c972ba" providerId="ADAL" clId="{ADB70B9A-E028-484E-93D9-2068C3FA1355}" dt="2023-03-01T15:15:23.115" v="1497"/>
        <pc:sldMkLst>
          <pc:docMk/>
          <pc:sldMk cId="2923837414" sldId="513"/>
        </pc:sldMkLst>
      </pc:sldChg>
      <pc:sldChg chg="modTransition">
        <pc:chgData name="Thomas Stensitzki" userId="75cafe6b-2f2a-469b-85c4-eec3b9c972ba" providerId="ADAL" clId="{ADB70B9A-E028-484E-93D9-2068C3FA1355}" dt="2023-03-01T15:15:23.115" v="1497"/>
        <pc:sldMkLst>
          <pc:docMk/>
          <pc:sldMk cId="2395924320" sldId="514"/>
        </pc:sldMkLst>
      </pc:sldChg>
      <pc:sldChg chg="modSp add mod modTransition">
        <pc:chgData name="Thomas Stensitzki" userId="75cafe6b-2f2a-469b-85c4-eec3b9c972ba" providerId="ADAL" clId="{ADB70B9A-E028-484E-93D9-2068C3FA1355}" dt="2023-03-01T15:15:23.115" v="1497"/>
        <pc:sldMkLst>
          <pc:docMk/>
          <pc:sldMk cId="3797754622" sldId="515"/>
        </pc:sldMkLst>
        <pc:spChg chg="mod">
          <ac:chgData name="Thomas Stensitzki" userId="75cafe6b-2f2a-469b-85c4-eec3b9c972ba" providerId="ADAL" clId="{ADB70B9A-E028-484E-93D9-2068C3FA1355}" dt="2023-03-01T13:38:07.364" v="1417" actId="14100"/>
          <ac:spMkLst>
            <pc:docMk/>
            <pc:sldMk cId="3797754622" sldId="515"/>
            <ac:spMk id="2" creationId="{909DC09D-B9A6-4493-9A72-1CA7ECB1F5CA}"/>
          </ac:spMkLst>
        </pc:spChg>
        <pc:spChg chg="mod">
          <ac:chgData name="Thomas Stensitzki" userId="75cafe6b-2f2a-469b-85c4-eec3b9c972ba" providerId="ADAL" clId="{ADB70B9A-E028-484E-93D9-2068C3FA1355}" dt="2023-02-22T15:59:11.249" v="1279" actId="20577"/>
          <ac:spMkLst>
            <pc:docMk/>
            <pc:sldMk cId="3797754622" sldId="515"/>
            <ac:spMk id="5" creationId="{C24DACB5-1BEC-4C86-9652-BAFD8DE56FEF}"/>
          </ac:spMkLst>
        </pc:spChg>
      </pc:sldChg>
      <pc:sldChg chg="modTransition">
        <pc:chgData name="Thomas Stensitzki" userId="75cafe6b-2f2a-469b-85c4-eec3b9c972ba" providerId="ADAL" clId="{ADB70B9A-E028-484E-93D9-2068C3FA1355}" dt="2023-03-01T15:15:23.115" v="1497"/>
        <pc:sldMkLst>
          <pc:docMk/>
          <pc:sldMk cId="2791634409" sldId="560"/>
        </pc:sldMkLst>
      </pc:sldChg>
      <pc:sldChg chg="mod modTransition modShow">
        <pc:chgData name="Thomas Stensitzki" userId="75cafe6b-2f2a-469b-85c4-eec3b9c972ba" providerId="ADAL" clId="{ADB70B9A-E028-484E-93D9-2068C3FA1355}" dt="2023-03-01T15:20:04.607" v="1499" actId="729"/>
        <pc:sldMkLst>
          <pc:docMk/>
          <pc:sldMk cId="1728515471" sldId="561"/>
        </pc:sldMkLst>
      </pc:sldChg>
      <pc:sldChg chg="del">
        <pc:chgData name="Thomas Stensitzki" userId="75cafe6b-2f2a-469b-85c4-eec3b9c972ba" providerId="ADAL" clId="{ADB70B9A-E028-484E-93D9-2068C3FA1355}" dt="2023-02-22T14:06:20.967" v="137" actId="18676"/>
        <pc:sldMkLst>
          <pc:docMk/>
          <pc:sldMk cId="1856989855" sldId="606"/>
        </pc:sldMkLst>
      </pc:sldChg>
      <pc:sldChg chg="modTransition">
        <pc:chgData name="Thomas Stensitzki" userId="75cafe6b-2f2a-469b-85c4-eec3b9c972ba" providerId="ADAL" clId="{ADB70B9A-E028-484E-93D9-2068C3FA1355}" dt="2023-03-01T15:15:23.115" v="1497"/>
        <pc:sldMkLst>
          <pc:docMk/>
          <pc:sldMk cId="1051205786" sldId="607"/>
        </pc:sldMkLst>
      </pc:sldChg>
      <pc:sldChg chg="del">
        <pc:chgData name="Thomas Stensitzki" userId="75cafe6b-2f2a-469b-85c4-eec3b9c972ba" providerId="ADAL" clId="{ADB70B9A-E028-484E-93D9-2068C3FA1355}" dt="2023-02-22T14:06:20.967" v="137" actId="18676"/>
        <pc:sldMkLst>
          <pc:docMk/>
          <pc:sldMk cId="4003618409" sldId="608"/>
        </pc:sldMkLst>
      </pc:sldChg>
      <pc:sldChg chg="new del">
        <pc:chgData name="Thomas Stensitzki" userId="75cafe6b-2f2a-469b-85c4-eec3b9c972ba" providerId="ADAL" clId="{ADB70B9A-E028-484E-93D9-2068C3FA1355}" dt="2023-02-22T15:13:32.832" v="166" actId="47"/>
        <pc:sldMkLst>
          <pc:docMk/>
          <pc:sldMk cId="3017762970" sldId="609"/>
        </pc:sldMkLst>
      </pc:sldChg>
      <pc:sldChg chg="add del">
        <pc:chgData name="Thomas Stensitzki" userId="75cafe6b-2f2a-469b-85c4-eec3b9c972ba" providerId="ADAL" clId="{ADB70B9A-E028-484E-93D9-2068C3FA1355}" dt="2023-02-22T14:03:19.359" v="74" actId="47"/>
        <pc:sldMkLst>
          <pc:docMk/>
          <pc:sldMk cId="839699773" sldId="610"/>
        </pc:sldMkLst>
      </pc:sldChg>
      <pc:sldChg chg="add del">
        <pc:chgData name="Thomas Stensitzki" userId="75cafe6b-2f2a-469b-85c4-eec3b9c972ba" providerId="ADAL" clId="{ADB70B9A-E028-484E-93D9-2068C3FA1355}" dt="2023-02-22T14:02:34.696" v="67" actId="47"/>
        <pc:sldMkLst>
          <pc:docMk/>
          <pc:sldMk cId="1399224848" sldId="610"/>
        </pc:sldMkLst>
      </pc:sldChg>
      <pc:sldChg chg="modSp add mod modTransition">
        <pc:chgData name="Thomas Stensitzki" userId="75cafe6b-2f2a-469b-85c4-eec3b9c972ba" providerId="ADAL" clId="{ADB70B9A-E028-484E-93D9-2068C3FA1355}" dt="2023-03-01T15:15:23.115" v="1497"/>
        <pc:sldMkLst>
          <pc:docMk/>
          <pc:sldMk cId="1962477249" sldId="659"/>
        </pc:sldMkLst>
        <pc:spChg chg="mod">
          <ac:chgData name="Thomas Stensitzki" userId="75cafe6b-2f2a-469b-85c4-eec3b9c972ba" providerId="ADAL" clId="{ADB70B9A-E028-484E-93D9-2068C3FA1355}" dt="2023-02-22T14:06:07.245" v="136" actId="6549"/>
          <ac:spMkLst>
            <pc:docMk/>
            <pc:sldMk cId="1962477249" sldId="659"/>
            <ac:spMk id="5" creationId="{F3459BE7-1731-4733-A912-12977C68CFD6}"/>
          </ac:spMkLst>
        </pc:spChg>
      </pc:sldChg>
      <pc:sldChg chg="addSp delSp modSp new mod modTransition modNotesTx">
        <pc:chgData name="Thomas Stensitzki" userId="75cafe6b-2f2a-469b-85c4-eec3b9c972ba" providerId="ADAL" clId="{ADB70B9A-E028-484E-93D9-2068C3FA1355}" dt="2023-03-01T15:15:23.115" v="1497"/>
        <pc:sldMkLst>
          <pc:docMk/>
          <pc:sldMk cId="1307406210" sldId="660"/>
        </pc:sldMkLst>
        <pc:spChg chg="mod">
          <ac:chgData name="Thomas Stensitzki" userId="75cafe6b-2f2a-469b-85c4-eec3b9c972ba" providerId="ADAL" clId="{ADB70B9A-E028-484E-93D9-2068C3FA1355}" dt="2023-02-22T15:14:26.751" v="168"/>
          <ac:spMkLst>
            <pc:docMk/>
            <pc:sldMk cId="1307406210" sldId="660"/>
            <ac:spMk id="2" creationId="{75238B7F-9981-D55C-CE85-8DB712CB6E38}"/>
          </ac:spMkLst>
        </pc:spChg>
        <pc:spChg chg="del">
          <ac:chgData name="Thomas Stensitzki" userId="75cafe6b-2f2a-469b-85c4-eec3b9c972ba" providerId="ADAL" clId="{ADB70B9A-E028-484E-93D9-2068C3FA1355}" dt="2023-02-22T15:15:09.518" v="169" actId="478"/>
          <ac:spMkLst>
            <pc:docMk/>
            <pc:sldMk cId="1307406210" sldId="660"/>
            <ac:spMk id="3" creationId="{4BD5D4C0-ED60-714F-B695-57B38CCC7CFF}"/>
          </ac:spMkLst>
        </pc:spChg>
        <pc:picChg chg="add mod">
          <ac:chgData name="Thomas Stensitzki" userId="75cafe6b-2f2a-469b-85c4-eec3b9c972ba" providerId="ADAL" clId="{ADB70B9A-E028-484E-93D9-2068C3FA1355}" dt="2023-03-01T13:30:24.450" v="1347" actId="1440"/>
          <ac:picMkLst>
            <pc:docMk/>
            <pc:sldMk cId="1307406210" sldId="660"/>
            <ac:picMk id="4" creationId="{1272FF8F-2CC2-7DB8-1084-1150C72C5D60}"/>
          </ac:picMkLst>
        </pc:picChg>
        <pc:picChg chg="add del mod">
          <ac:chgData name="Thomas Stensitzki" userId="75cafe6b-2f2a-469b-85c4-eec3b9c972ba" providerId="ADAL" clId="{ADB70B9A-E028-484E-93D9-2068C3FA1355}" dt="2023-02-22T15:16:00.157" v="184" actId="478"/>
          <ac:picMkLst>
            <pc:docMk/>
            <pc:sldMk cId="1307406210" sldId="660"/>
            <ac:picMk id="1026" creationId="{4BC2D7BB-8D22-2656-DFF6-CABAF2CB2535}"/>
          </ac:picMkLst>
        </pc:picChg>
      </pc:sldChg>
      <pc:sldChg chg="delSp modSp add mod modTransition">
        <pc:chgData name="Thomas Stensitzki" userId="75cafe6b-2f2a-469b-85c4-eec3b9c972ba" providerId="ADAL" clId="{ADB70B9A-E028-484E-93D9-2068C3FA1355}" dt="2023-03-01T15:15:23.115" v="1497"/>
        <pc:sldMkLst>
          <pc:docMk/>
          <pc:sldMk cId="3311861693" sldId="661"/>
        </pc:sldMkLst>
        <pc:picChg chg="del">
          <ac:chgData name="Thomas Stensitzki" userId="75cafe6b-2f2a-469b-85c4-eec3b9c972ba" providerId="ADAL" clId="{ADB70B9A-E028-484E-93D9-2068C3FA1355}" dt="2023-02-22T15:15:54.593" v="182" actId="478"/>
          <ac:picMkLst>
            <pc:docMk/>
            <pc:sldMk cId="3311861693" sldId="661"/>
            <ac:picMk id="4" creationId="{1272FF8F-2CC2-7DB8-1084-1150C72C5D60}"/>
          </ac:picMkLst>
        </pc:picChg>
        <pc:picChg chg="mod">
          <ac:chgData name="Thomas Stensitzki" userId="75cafe6b-2f2a-469b-85c4-eec3b9c972ba" providerId="ADAL" clId="{ADB70B9A-E028-484E-93D9-2068C3FA1355}" dt="2023-03-01T13:30:21.051" v="1345" actId="1440"/>
          <ac:picMkLst>
            <pc:docMk/>
            <pc:sldMk cId="3311861693" sldId="661"/>
            <ac:picMk id="1026" creationId="{4BC2D7BB-8D22-2656-DFF6-CABAF2CB2535}"/>
          </ac:picMkLst>
        </pc:picChg>
      </pc:sldChg>
      <pc:sldChg chg="addSp delSp modSp new mod modTransition modNotesTx">
        <pc:chgData name="Thomas Stensitzki" userId="75cafe6b-2f2a-469b-85c4-eec3b9c972ba" providerId="ADAL" clId="{ADB70B9A-E028-484E-93D9-2068C3FA1355}" dt="2023-03-01T15:15:23.115" v="1497"/>
        <pc:sldMkLst>
          <pc:docMk/>
          <pc:sldMk cId="561974499" sldId="662"/>
        </pc:sldMkLst>
        <pc:spChg chg="mod">
          <ac:chgData name="Thomas Stensitzki" userId="75cafe6b-2f2a-469b-85c4-eec3b9c972ba" providerId="ADAL" clId="{ADB70B9A-E028-484E-93D9-2068C3FA1355}" dt="2023-02-22T15:20:56.709" v="236"/>
          <ac:spMkLst>
            <pc:docMk/>
            <pc:sldMk cId="561974499" sldId="662"/>
            <ac:spMk id="2" creationId="{66B6D1AB-3252-99CD-D68D-81ADE08F2139}"/>
          </ac:spMkLst>
        </pc:spChg>
        <pc:spChg chg="del">
          <ac:chgData name="Thomas Stensitzki" userId="75cafe6b-2f2a-469b-85c4-eec3b9c972ba" providerId="ADAL" clId="{ADB70B9A-E028-484E-93D9-2068C3FA1355}" dt="2023-02-22T15:20:58.839" v="237" actId="478"/>
          <ac:spMkLst>
            <pc:docMk/>
            <pc:sldMk cId="561974499" sldId="662"/>
            <ac:spMk id="3" creationId="{4DCC9CCA-3AED-9C1A-1B40-3C724319E77D}"/>
          </ac:spMkLst>
        </pc:spChg>
        <pc:picChg chg="add mod">
          <ac:chgData name="Thomas Stensitzki" userId="75cafe6b-2f2a-469b-85c4-eec3b9c972ba" providerId="ADAL" clId="{ADB70B9A-E028-484E-93D9-2068C3FA1355}" dt="2023-03-01T13:30:43.530" v="1353" actId="1440"/>
          <ac:picMkLst>
            <pc:docMk/>
            <pc:sldMk cId="561974499" sldId="662"/>
            <ac:picMk id="2050" creationId="{A79A94B8-95E5-A191-BAD5-FE9B99FB9734}"/>
          </ac:picMkLst>
        </pc:picChg>
        <pc:picChg chg="add mod">
          <ac:chgData name="Thomas Stensitzki" userId="75cafe6b-2f2a-469b-85c4-eec3b9c972ba" providerId="ADAL" clId="{ADB70B9A-E028-484E-93D9-2068C3FA1355}" dt="2023-03-01T13:30:44.372" v="1354" actId="1440"/>
          <ac:picMkLst>
            <pc:docMk/>
            <pc:sldMk cId="561974499" sldId="662"/>
            <ac:picMk id="2052" creationId="{78B28087-1AD1-A85D-439E-5401E7C109FD}"/>
          </ac:picMkLst>
        </pc:picChg>
      </pc:sldChg>
      <pc:sldChg chg="addSp delSp modSp new mod modTransition modClrScheme chgLayout">
        <pc:chgData name="Thomas Stensitzki" userId="75cafe6b-2f2a-469b-85c4-eec3b9c972ba" providerId="ADAL" clId="{ADB70B9A-E028-484E-93D9-2068C3FA1355}" dt="2023-03-02T18:00:37.343" v="1507" actId="6549"/>
        <pc:sldMkLst>
          <pc:docMk/>
          <pc:sldMk cId="102271189" sldId="663"/>
        </pc:sldMkLst>
        <pc:spChg chg="del mod ord">
          <ac:chgData name="Thomas Stensitzki" userId="75cafe6b-2f2a-469b-85c4-eec3b9c972ba" providerId="ADAL" clId="{ADB70B9A-E028-484E-93D9-2068C3FA1355}" dt="2023-02-22T15:22:00.660" v="262" actId="700"/>
          <ac:spMkLst>
            <pc:docMk/>
            <pc:sldMk cId="102271189" sldId="663"/>
            <ac:spMk id="2" creationId="{45650585-CDF9-EECB-7738-AEFA6ACA381B}"/>
          </ac:spMkLst>
        </pc:spChg>
        <pc:spChg chg="del">
          <ac:chgData name="Thomas Stensitzki" userId="75cafe6b-2f2a-469b-85c4-eec3b9c972ba" providerId="ADAL" clId="{ADB70B9A-E028-484E-93D9-2068C3FA1355}" dt="2023-02-22T15:22:00.660" v="262" actId="700"/>
          <ac:spMkLst>
            <pc:docMk/>
            <pc:sldMk cId="102271189" sldId="663"/>
            <ac:spMk id="3" creationId="{21B2C257-FF44-3D0B-D71F-63C346768626}"/>
          </ac:spMkLst>
        </pc:spChg>
        <pc:spChg chg="add mod ord">
          <ac:chgData name="Thomas Stensitzki" userId="75cafe6b-2f2a-469b-85c4-eec3b9c972ba" providerId="ADAL" clId="{ADB70B9A-E028-484E-93D9-2068C3FA1355}" dt="2023-02-22T15:22:23.016" v="266" actId="14100"/>
          <ac:spMkLst>
            <pc:docMk/>
            <pc:sldMk cId="102271189" sldId="663"/>
            <ac:spMk id="4" creationId="{5C8DB947-5C65-DED0-C531-EA3D61091C16}"/>
          </ac:spMkLst>
        </pc:spChg>
        <pc:spChg chg="add mod">
          <ac:chgData name="Thomas Stensitzki" userId="75cafe6b-2f2a-469b-85c4-eec3b9c972ba" providerId="ADAL" clId="{ADB70B9A-E028-484E-93D9-2068C3FA1355}" dt="2023-03-02T18:00:37.343" v="1507" actId="6549"/>
          <ac:spMkLst>
            <pc:docMk/>
            <pc:sldMk cId="102271189" sldId="663"/>
            <ac:spMk id="5" creationId="{5A287DD3-01EB-E86B-678B-3361BAC8C051}"/>
          </ac:spMkLst>
        </pc:spChg>
        <pc:picChg chg="add mod">
          <ac:chgData name="Thomas Stensitzki" userId="75cafe6b-2f2a-469b-85c4-eec3b9c972ba" providerId="ADAL" clId="{ADB70B9A-E028-484E-93D9-2068C3FA1355}" dt="2023-03-01T13:30:36.636" v="1352" actId="1440"/>
          <ac:picMkLst>
            <pc:docMk/>
            <pc:sldMk cId="102271189" sldId="663"/>
            <ac:picMk id="3074" creationId="{B7FDFC8E-D568-F227-C4BE-11E53D72E6E5}"/>
          </ac:picMkLst>
        </pc:picChg>
      </pc:sldChg>
      <pc:sldChg chg="addSp modSp new mod modTransition">
        <pc:chgData name="Thomas Stensitzki" userId="75cafe6b-2f2a-469b-85c4-eec3b9c972ba" providerId="ADAL" clId="{ADB70B9A-E028-484E-93D9-2068C3FA1355}" dt="2023-03-01T15:15:23.115" v="1497"/>
        <pc:sldMkLst>
          <pc:docMk/>
          <pc:sldMk cId="754705698" sldId="664"/>
        </pc:sldMkLst>
        <pc:spChg chg="mod">
          <ac:chgData name="Thomas Stensitzki" userId="75cafe6b-2f2a-469b-85c4-eec3b9c972ba" providerId="ADAL" clId="{ADB70B9A-E028-484E-93D9-2068C3FA1355}" dt="2023-02-22T15:30:30.213" v="831"/>
          <ac:spMkLst>
            <pc:docMk/>
            <pc:sldMk cId="754705698" sldId="664"/>
            <ac:spMk id="2" creationId="{57982170-16D6-31F5-5239-1E549E23353D}"/>
          </ac:spMkLst>
        </pc:spChg>
        <pc:picChg chg="add mod">
          <ac:chgData name="Thomas Stensitzki" userId="75cafe6b-2f2a-469b-85c4-eec3b9c972ba" providerId="ADAL" clId="{ADB70B9A-E028-484E-93D9-2068C3FA1355}" dt="2023-03-01T13:30:33.796" v="1351" actId="1440"/>
          <ac:picMkLst>
            <pc:docMk/>
            <pc:sldMk cId="754705698" sldId="664"/>
            <ac:picMk id="3" creationId="{C91664D2-EE03-6E0F-C883-B4D6D390D2A5}"/>
          </ac:picMkLst>
        </pc:picChg>
      </pc:sldChg>
      <pc:sldChg chg="addSp delSp modSp new del mod modClrScheme chgLayout">
        <pc:chgData name="Thomas Stensitzki" userId="75cafe6b-2f2a-469b-85c4-eec3b9c972ba" providerId="ADAL" clId="{ADB70B9A-E028-484E-93D9-2068C3FA1355}" dt="2023-02-22T15:30:24.915" v="829" actId="47"/>
        <pc:sldMkLst>
          <pc:docMk/>
          <pc:sldMk cId="3667017667" sldId="664"/>
        </pc:sldMkLst>
        <pc:spChg chg="del mod ord">
          <ac:chgData name="Thomas Stensitzki" userId="75cafe6b-2f2a-469b-85c4-eec3b9c972ba" providerId="ADAL" clId="{ADB70B9A-E028-484E-93D9-2068C3FA1355}" dt="2023-02-22T15:23:03.563" v="273" actId="700"/>
          <ac:spMkLst>
            <pc:docMk/>
            <pc:sldMk cId="3667017667" sldId="664"/>
            <ac:spMk id="2" creationId="{BE846C02-49F7-5DBE-AA3A-59EFBCBEFA46}"/>
          </ac:spMkLst>
        </pc:spChg>
        <pc:spChg chg="add mod ord">
          <ac:chgData name="Thomas Stensitzki" userId="75cafe6b-2f2a-469b-85c4-eec3b9c972ba" providerId="ADAL" clId="{ADB70B9A-E028-484E-93D9-2068C3FA1355}" dt="2023-02-22T15:23:03.563" v="273" actId="700"/>
          <ac:spMkLst>
            <pc:docMk/>
            <pc:sldMk cId="3667017667" sldId="664"/>
            <ac:spMk id="3" creationId="{E508E917-FE0B-97EF-0DFC-934B6B6398AE}"/>
          </ac:spMkLst>
        </pc:spChg>
        <pc:spChg chg="add mod ord">
          <ac:chgData name="Thomas Stensitzki" userId="75cafe6b-2f2a-469b-85c4-eec3b9c972ba" providerId="ADAL" clId="{ADB70B9A-E028-484E-93D9-2068C3FA1355}" dt="2023-02-22T15:23:24.854" v="279" actId="20577"/>
          <ac:spMkLst>
            <pc:docMk/>
            <pc:sldMk cId="3667017667" sldId="664"/>
            <ac:spMk id="4" creationId="{8A7A829A-164B-B87E-94BB-956172B5C7B0}"/>
          </ac:spMkLst>
        </pc:spChg>
      </pc:sldChg>
      <pc:sldChg chg="addSp modSp new mod modTransition">
        <pc:chgData name="Thomas Stensitzki" userId="75cafe6b-2f2a-469b-85c4-eec3b9c972ba" providerId="ADAL" clId="{ADB70B9A-E028-484E-93D9-2068C3FA1355}" dt="2023-03-01T15:15:23.115" v="1497"/>
        <pc:sldMkLst>
          <pc:docMk/>
          <pc:sldMk cId="3467690866" sldId="665"/>
        </pc:sldMkLst>
        <pc:spChg chg="mod">
          <ac:chgData name="Thomas Stensitzki" userId="75cafe6b-2f2a-469b-85c4-eec3b9c972ba" providerId="ADAL" clId="{ADB70B9A-E028-484E-93D9-2068C3FA1355}" dt="2023-02-22T15:31:52.160" v="842"/>
          <ac:spMkLst>
            <pc:docMk/>
            <pc:sldMk cId="3467690866" sldId="665"/>
            <ac:spMk id="2" creationId="{23C74054-08E8-6411-1F56-4D423D99D050}"/>
          </ac:spMkLst>
        </pc:spChg>
        <pc:picChg chg="add mod">
          <ac:chgData name="Thomas Stensitzki" userId="75cafe6b-2f2a-469b-85c4-eec3b9c972ba" providerId="ADAL" clId="{ADB70B9A-E028-484E-93D9-2068C3FA1355}" dt="2023-03-01T13:30:30.296" v="1349" actId="1440"/>
          <ac:picMkLst>
            <pc:docMk/>
            <pc:sldMk cId="3467690866" sldId="665"/>
            <ac:picMk id="4098" creationId="{0B835028-92CC-D43D-345D-92E3F9564D51}"/>
          </ac:picMkLst>
        </pc:picChg>
        <pc:picChg chg="add mod">
          <ac:chgData name="Thomas Stensitzki" userId="75cafe6b-2f2a-469b-85c4-eec3b9c972ba" providerId="ADAL" clId="{ADB70B9A-E028-484E-93D9-2068C3FA1355}" dt="2023-03-01T13:30:30.968" v="1350" actId="1440"/>
          <ac:picMkLst>
            <pc:docMk/>
            <pc:sldMk cId="3467690866" sldId="665"/>
            <ac:picMk id="4100" creationId="{DB750A15-9879-90F4-127D-1C1CCB3D7727}"/>
          </ac:picMkLst>
        </pc:picChg>
      </pc:sldChg>
      <pc:sldChg chg="addSp delSp modSp new mod modTransition modClrScheme chgLayout">
        <pc:chgData name="Thomas Stensitzki" userId="75cafe6b-2f2a-469b-85c4-eec3b9c972ba" providerId="ADAL" clId="{ADB70B9A-E028-484E-93D9-2068C3FA1355}" dt="2023-03-01T15:15:23.115" v="1497"/>
        <pc:sldMkLst>
          <pc:docMk/>
          <pc:sldMk cId="1478336555" sldId="666"/>
        </pc:sldMkLst>
        <pc:spChg chg="mod ord">
          <ac:chgData name="Thomas Stensitzki" userId="75cafe6b-2f2a-469b-85c4-eec3b9c972ba" providerId="ADAL" clId="{ADB70B9A-E028-484E-93D9-2068C3FA1355}" dt="2023-02-22T15:33:30.996" v="859" actId="700"/>
          <ac:spMkLst>
            <pc:docMk/>
            <pc:sldMk cId="1478336555" sldId="666"/>
            <ac:spMk id="2" creationId="{E6D50170-90F3-BE1D-65FD-F002339EB4B6}"/>
          </ac:spMkLst>
        </pc:spChg>
        <pc:spChg chg="del">
          <ac:chgData name="Thomas Stensitzki" userId="75cafe6b-2f2a-469b-85c4-eec3b9c972ba" providerId="ADAL" clId="{ADB70B9A-E028-484E-93D9-2068C3FA1355}" dt="2023-02-22T15:33:30.996" v="859" actId="700"/>
          <ac:spMkLst>
            <pc:docMk/>
            <pc:sldMk cId="1478336555" sldId="666"/>
            <ac:spMk id="3" creationId="{C7B4AE0E-DDA9-2B75-E065-7A50ED8A0754}"/>
          </ac:spMkLst>
        </pc:spChg>
        <pc:picChg chg="add mod">
          <ac:chgData name="Thomas Stensitzki" userId="75cafe6b-2f2a-469b-85c4-eec3b9c972ba" providerId="ADAL" clId="{ADB70B9A-E028-484E-93D9-2068C3FA1355}" dt="2023-03-01T13:30:22.787" v="1346" actId="1440"/>
          <ac:picMkLst>
            <pc:docMk/>
            <pc:sldMk cId="1478336555" sldId="666"/>
            <ac:picMk id="5122" creationId="{36D1FD63-8C89-5A50-6C34-4012ADC93A3C}"/>
          </ac:picMkLst>
        </pc:picChg>
        <pc:picChg chg="add del">
          <ac:chgData name="Thomas Stensitzki" userId="75cafe6b-2f2a-469b-85c4-eec3b9c972ba" providerId="ADAL" clId="{ADB70B9A-E028-484E-93D9-2068C3FA1355}" dt="2023-02-22T15:37:15.634" v="888" actId="478"/>
          <ac:picMkLst>
            <pc:docMk/>
            <pc:sldMk cId="1478336555" sldId="666"/>
            <ac:picMk id="5124" creationId="{82B0D065-1B71-11CF-1DA0-3B0D89378AF5}"/>
          </ac:picMkLst>
        </pc:picChg>
      </pc:sldChg>
      <pc:sldChg chg="addSp delSp modSp add modTransition">
        <pc:chgData name="Thomas Stensitzki" userId="75cafe6b-2f2a-469b-85c4-eec3b9c972ba" providerId="ADAL" clId="{ADB70B9A-E028-484E-93D9-2068C3FA1355}" dt="2023-03-01T15:15:23.115" v="1497"/>
        <pc:sldMkLst>
          <pc:docMk/>
          <pc:sldMk cId="4080389735" sldId="667"/>
        </pc:sldMkLst>
        <pc:picChg chg="del">
          <ac:chgData name="Thomas Stensitzki" userId="75cafe6b-2f2a-469b-85c4-eec3b9c972ba" providerId="ADAL" clId="{ADB70B9A-E028-484E-93D9-2068C3FA1355}" dt="2023-02-22T15:37:25.873" v="891" actId="478"/>
          <ac:picMkLst>
            <pc:docMk/>
            <pc:sldMk cId="4080389735" sldId="667"/>
            <ac:picMk id="5122" creationId="{36D1FD63-8C89-5A50-6C34-4012ADC93A3C}"/>
          </ac:picMkLst>
        </pc:picChg>
        <pc:picChg chg="add mod">
          <ac:chgData name="Thomas Stensitzki" userId="75cafe6b-2f2a-469b-85c4-eec3b9c972ba" providerId="ADAL" clId="{ADB70B9A-E028-484E-93D9-2068C3FA1355}" dt="2023-03-01T13:30:19.133" v="1344" actId="1440"/>
          <ac:picMkLst>
            <pc:docMk/>
            <pc:sldMk cId="4080389735" sldId="667"/>
            <ac:picMk id="6146" creationId="{343F0AB9-C375-CA9F-F09A-13B613F97B37}"/>
          </ac:picMkLst>
        </pc:picChg>
      </pc:sldChg>
      <pc:sldChg chg="addSp delSp modSp add mod modTransition modNotesTx">
        <pc:chgData name="Thomas Stensitzki" userId="75cafe6b-2f2a-469b-85c4-eec3b9c972ba" providerId="ADAL" clId="{ADB70B9A-E028-484E-93D9-2068C3FA1355}" dt="2023-03-01T15:15:23.115" v="1497"/>
        <pc:sldMkLst>
          <pc:docMk/>
          <pc:sldMk cId="3202947217" sldId="668"/>
        </pc:sldMkLst>
        <pc:spChg chg="mod">
          <ac:chgData name="Thomas Stensitzki" userId="75cafe6b-2f2a-469b-85c4-eec3b9c972ba" providerId="ADAL" clId="{ADB70B9A-E028-484E-93D9-2068C3FA1355}" dt="2023-02-22T15:38:16.243" v="919" actId="20577"/>
          <ac:spMkLst>
            <pc:docMk/>
            <pc:sldMk cId="3202947217" sldId="668"/>
            <ac:spMk id="2" creationId="{E6D50170-90F3-BE1D-65FD-F002339EB4B6}"/>
          </ac:spMkLst>
        </pc:spChg>
        <pc:picChg chg="del">
          <ac:chgData name="Thomas Stensitzki" userId="75cafe6b-2f2a-469b-85c4-eec3b9c972ba" providerId="ADAL" clId="{ADB70B9A-E028-484E-93D9-2068C3FA1355}" dt="2023-02-22T15:37:42.711" v="896" actId="478"/>
          <ac:picMkLst>
            <pc:docMk/>
            <pc:sldMk cId="3202947217" sldId="668"/>
            <ac:picMk id="6146" creationId="{343F0AB9-C375-CA9F-F09A-13B613F97B37}"/>
          </ac:picMkLst>
        </pc:picChg>
        <pc:picChg chg="add mod">
          <ac:chgData name="Thomas Stensitzki" userId="75cafe6b-2f2a-469b-85c4-eec3b9c972ba" providerId="ADAL" clId="{ADB70B9A-E028-484E-93D9-2068C3FA1355}" dt="2023-03-01T13:30:15.277" v="1343" actId="1440"/>
          <ac:picMkLst>
            <pc:docMk/>
            <pc:sldMk cId="3202947217" sldId="668"/>
            <ac:picMk id="7170" creationId="{6522AE0F-71D6-B7C1-CAB9-E6AF2F71DE94}"/>
          </ac:picMkLst>
        </pc:picChg>
      </pc:sldChg>
      <pc:sldChg chg="addSp delSp modSp add modTransition">
        <pc:chgData name="Thomas Stensitzki" userId="75cafe6b-2f2a-469b-85c4-eec3b9c972ba" providerId="ADAL" clId="{ADB70B9A-E028-484E-93D9-2068C3FA1355}" dt="2023-03-01T15:15:23.115" v="1497"/>
        <pc:sldMkLst>
          <pc:docMk/>
          <pc:sldMk cId="2193982032" sldId="669"/>
        </pc:sldMkLst>
        <pc:picChg chg="del">
          <ac:chgData name="Thomas Stensitzki" userId="75cafe6b-2f2a-469b-85c4-eec3b9c972ba" providerId="ADAL" clId="{ADB70B9A-E028-484E-93D9-2068C3FA1355}" dt="2023-02-22T15:38:50.810" v="922" actId="478"/>
          <ac:picMkLst>
            <pc:docMk/>
            <pc:sldMk cId="2193982032" sldId="669"/>
            <ac:picMk id="7170" creationId="{6522AE0F-71D6-B7C1-CAB9-E6AF2F71DE94}"/>
          </ac:picMkLst>
        </pc:picChg>
        <pc:picChg chg="add mod">
          <ac:chgData name="Thomas Stensitzki" userId="75cafe6b-2f2a-469b-85c4-eec3b9c972ba" providerId="ADAL" clId="{ADB70B9A-E028-484E-93D9-2068C3FA1355}" dt="2023-03-01T13:30:12.192" v="1342" actId="1440"/>
          <ac:picMkLst>
            <pc:docMk/>
            <pc:sldMk cId="2193982032" sldId="669"/>
            <ac:picMk id="8194" creationId="{AE5E9761-6237-FD76-DE49-4EFBB6292572}"/>
          </ac:picMkLst>
        </pc:picChg>
      </pc:sldChg>
      <pc:sldChg chg="addSp modSp new mod modTransition">
        <pc:chgData name="Thomas Stensitzki" userId="75cafe6b-2f2a-469b-85c4-eec3b9c972ba" providerId="ADAL" clId="{ADB70B9A-E028-484E-93D9-2068C3FA1355}" dt="2023-03-01T15:15:23.115" v="1497"/>
        <pc:sldMkLst>
          <pc:docMk/>
          <pc:sldMk cId="122818087" sldId="670"/>
        </pc:sldMkLst>
        <pc:spChg chg="mod">
          <ac:chgData name="Thomas Stensitzki" userId="75cafe6b-2f2a-469b-85c4-eec3b9c972ba" providerId="ADAL" clId="{ADB70B9A-E028-484E-93D9-2068C3FA1355}" dt="2023-02-22T15:42:38.695" v="963"/>
          <ac:spMkLst>
            <pc:docMk/>
            <pc:sldMk cId="122818087" sldId="670"/>
            <ac:spMk id="2" creationId="{D6485D92-4F89-F269-A09F-2729E827039F}"/>
          </ac:spMkLst>
        </pc:spChg>
        <pc:picChg chg="add mod">
          <ac:chgData name="Thomas Stensitzki" userId="75cafe6b-2f2a-469b-85c4-eec3b9c972ba" providerId="ADAL" clId="{ADB70B9A-E028-484E-93D9-2068C3FA1355}" dt="2023-03-01T13:30:27.958" v="1348" actId="1440"/>
          <ac:picMkLst>
            <pc:docMk/>
            <pc:sldMk cId="122818087" sldId="670"/>
            <ac:picMk id="9218" creationId="{51286DDB-E39A-B097-A136-52CE7C17F37B}"/>
          </ac:picMkLst>
        </pc:picChg>
      </pc:sldChg>
      <pc:sldChg chg="addSp delSp modSp new mod modTransition modClrScheme chgLayout">
        <pc:chgData name="Thomas Stensitzki" userId="75cafe6b-2f2a-469b-85c4-eec3b9c972ba" providerId="ADAL" clId="{ADB70B9A-E028-484E-93D9-2068C3FA1355}" dt="2023-03-01T15:15:23.115" v="1497"/>
        <pc:sldMkLst>
          <pc:docMk/>
          <pc:sldMk cId="2909463456" sldId="671"/>
        </pc:sldMkLst>
        <pc:spChg chg="del mod ord">
          <ac:chgData name="Thomas Stensitzki" userId="75cafe6b-2f2a-469b-85c4-eec3b9c972ba" providerId="ADAL" clId="{ADB70B9A-E028-484E-93D9-2068C3FA1355}" dt="2023-02-22T15:49:10.643" v="1005" actId="700"/>
          <ac:spMkLst>
            <pc:docMk/>
            <pc:sldMk cId="2909463456" sldId="671"/>
            <ac:spMk id="2" creationId="{90B390A1-B881-0CD4-FB35-06ECE615BF13}"/>
          </ac:spMkLst>
        </pc:spChg>
        <pc:spChg chg="add mod ord">
          <ac:chgData name="Thomas Stensitzki" userId="75cafe6b-2f2a-469b-85c4-eec3b9c972ba" providerId="ADAL" clId="{ADB70B9A-E028-484E-93D9-2068C3FA1355}" dt="2023-03-01T13:29:23.613" v="1333" actId="108"/>
          <ac:spMkLst>
            <pc:docMk/>
            <pc:sldMk cId="2909463456" sldId="671"/>
            <ac:spMk id="3" creationId="{E1590F97-E143-D15B-9087-EF0A4139FEEA}"/>
          </ac:spMkLst>
        </pc:spChg>
        <pc:spChg chg="add mod ord">
          <ac:chgData name="Thomas Stensitzki" userId="75cafe6b-2f2a-469b-85c4-eec3b9c972ba" providerId="ADAL" clId="{ADB70B9A-E028-484E-93D9-2068C3FA1355}" dt="2023-02-22T15:53:35.143" v="1270" actId="20577"/>
          <ac:spMkLst>
            <pc:docMk/>
            <pc:sldMk cId="2909463456" sldId="671"/>
            <ac:spMk id="4" creationId="{16579E0E-6A74-E6FD-E614-EFEA424E104F}"/>
          </ac:spMkLst>
        </pc:spChg>
      </pc:sldChg>
      <pc:sldChg chg="addSp delSp modSp new mod modTransition modClrScheme chgLayout">
        <pc:chgData name="Thomas Stensitzki" userId="75cafe6b-2f2a-469b-85c4-eec3b9c972ba" providerId="ADAL" clId="{ADB70B9A-E028-484E-93D9-2068C3FA1355}" dt="2023-03-01T15:18:03.084" v="1498" actId="1440"/>
        <pc:sldMkLst>
          <pc:docMk/>
          <pc:sldMk cId="1253155529" sldId="672"/>
        </pc:sldMkLst>
        <pc:spChg chg="del mod ord">
          <ac:chgData name="Thomas Stensitzki" userId="75cafe6b-2f2a-469b-85c4-eec3b9c972ba" providerId="ADAL" clId="{ADB70B9A-E028-484E-93D9-2068C3FA1355}" dt="2023-02-22T15:54:15.121" v="1274" actId="700"/>
          <ac:spMkLst>
            <pc:docMk/>
            <pc:sldMk cId="1253155529" sldId="672"/>
            <ac:spMk id="2" creationId="{9AB80E92-8802-C9FB-147E-D4213B4A7E50}"/>
          </ac:spMkLst>
        </pc:spChg>
        <pc:spChg chg="del">
          <ac:chgData name="Thomas Stensitzki" userId="75cafe6b-2f2a-469b-85c4-eec3b9c972ba" providerId="ADAL" clId="{ADB70B9A-E028-484E-93D9-2068C3FA1355}" dt="2023-02-22T15:54:15.121" v="1274" actId="700"/>
          <ac:spMkLst>
            <pc:docMk/>
            <pc:sldMk cId="1253155529" sldId="672"/>
            <ac:spMk id="3" creationId="{E60E4756-D26C-66C6-F7B5-E7D4C1089EE8}"/>
          </ac:spMkLst>
        </pc:spChg>
        <pc:spChg chg="add mod ord">
          <ac:chgData name="Thomas Stensitzki" userId="75cafe6b-2f2a-469b-85c4-eec3b9c972ba" providerId="ADAL" clId="{ADB70B9A-E028-484E-93D9-2068C3FA1355}" dt="2023-02-22T15:54:16.978" v="1275"/>
          <ac:spMkLst>
            <pc:docMk/>
            <pc:sldMk cId="1253155529" sldId="672"/>
            <ac:spMk id="4" creationId="{F0AD4EE5-F062-B400-5493-1BC30CBC4BF8}"/>
          </ac:spMkLst>
        </pc:spChg>
        <pc:picChg chg="add mod">
          <ac:chgData name="Thomas Stensitzki" userId="75cafe6b-2f2a-469b-85c4-eec3b9c972ba" providerId="ADAL" clId="{ADB70B9A-E028-484E-93D9-2068C3FA1355}" dt="2023-03-01T15:18:03.084" v="1498" actId="1440"/>
          <ac:picMkLst>
            <pc:docMk/>
            <pc:sldMk cId="1253155529" sldId="672"/>
            <ac:picMk id="10242" creationId="{A07EE45A-5230-1CDE-9844-5F531A7646B2}"/>
          </ac:picMkLst>
        </pc:picChg>
      </pc:sldChg>
      <pc:sldChg chg="addSp delSp modSp add mod ord modTransition">
        <pc:chgData name="Thomas Stensitzki" userId="75cafe6b-2f2a-469b-85c4-eec3b9c972ba" providerId="ADAL" clId="{ADB70B9A-E028-484E-93D9-2068C3FA1355}" dt="2023-03-01T15:15:23.115" v="1497"/>
        <pc:sldMkLst>
          <pc:docMk/>
          <pc:sldMk cId="3265622204" sldId="673"/>
        </pc:sldMkLst>
        <pc:spChg chg="mod">
          <ac:chgData name="Thomas Stensitzki" userId="75cafe6b-2f2a-469b-85c4-eec3b9c972ba" providerId="ADAL" clId="{ADB70B9A-E028-484E-93D9-2068C3FA1355}" dt="2023-03-01T13:40:00.969" v="1448" actId="14100"/>
          <ac:spMkLst>
            <pc:docMk/>
            <pc:sldMk cId="3265622204" sldId="673"/>
            <ac:spMk id="2" creationId="{909DC09D-B9A6-4493-9A72-1CA7ECB1F5CA}"/>
          </ac:spMkLst>
        </pc:spChg>
        <pc:spChg chg="mod">
          <ac:chgData name="Thomas Stensitzki" userId="75cafe6b-2f2a-469b-85c4-eec3b9c972ba" providerId="ADAL" clId="{ADB70B9A-E028-484E-93D9-2068C3FA1355}" dt="2023-03-01T13:37:28.147" v="1410"/>
          <ac:spMkLst>
            <pc:docMk/>
            <pc:sldMk cId="3265622204" sldId="673"/>
            <ac:spMk id="5" creationId="{C24DACB5-1BEC-4C86-9652-BAFD8DE56FEF}"/>
          </ac:spMkLst>
        </pc:spChg>
        <pc:picChg chg="add del">
          <ac:chgData name="Thomas Stensitzki" userId="75cafe6b-2f2a-469b-85c4-eec3b9c972ba" providerId="ADAL" clId="{ADB70B9A-E028-484E-93D9-2068C3FA1355}" dt="2023-03-01T13:33:25.253" v="1365"/>
          <ac:picMkLst>
            <pc:docMk/>
            <pc:sldMk cId="3265622204" sldId="673"/>
            <ac:picMk id="3" creationId="{73EDE04D-DA44-A185-5756-7D147E9C9E64}"/>
          </ac:picMkLst>
        </pc:picChg>
      </pc:sldChg>
      <pc:sldChg chg="addSp modSp new mod modTransition">
        <pc:chgData name="Thomas Stensitzki" userId="75cafe6b-2f2a-469b-85c4-eec3b9c972ba" providerId="ADAL" clId="{ADB70B9A-E028-484E-93D9-2068C3FA1355}" dt="2023-03-01T15:15:23.115" v="1497"/>
        <pc:sldMkLst>
          <pc:docMk/>
          <pc:sldMk cId="549057824" sldId="674"/>
        </pc:sldMkLst>
        <pc:spChg chg="mod">
          <ac:chgData name="Thomas Stensitzki" userId="75cafe6b-2f2a-469b-85c4-eec3b9c972ba" providerId="ADAL" clId="{ADB70B9A-E028-484E-93D9-2068C3FA1355}" dt="2023-03-01T13:29:51.033" v="1337"/>
          <ac:spMkLst>
            <pc:docMk/>
            <pc:sldMk cId="549057824" sldId="674"/>
            <ac:spMk id="2" creationId="{417DC092-79CB-6195-5EA9-9A7312D3615D}"/>
          </ac:spMkLst>
        </pc:spChg>
        <pc:picChg chg="add mod">
          <ac:chgData name="Thomas Stensitzki" userId="75cafe6b-2f2a-469b-85c4-eec3b9c972ba" providerId="ADAL" clId="{ADB70B9A-E028-484E-93D9-2068C3FA1355}" dt="2023-03-01T13:30:09.351" v="1341" actId="1440"/>
          <ac:picMkLst>
            <pc:docMk/>
            <pc:sldMk cId="549057824" sldId="674"/>
            <ac:picMk id="1026" creationId="{2F41541A-AE4F-2D3F-3145-37F53996FF7A}"/>
          </ac:picMkLst>
        </pc:picChg>
      </pc:sldChg>
      <pc:sldChg chg="addSp modSp new mod modTransition">
        <pc:chgData name="Thomas Stensitzki" userId="75cafe6b-2f2a-469b-85c4-eec3b9c972ba" providerId="ADAL" clId="{ADB70B9A-E028-484E-93D9-2068C3FA1355}" dt="2023-03-01T15:15:23.115" v="1497"/>
        <pc:sldMkLst>
          <pc:docMk/>
          <pc:sldMk cId="1757766559" sldId="675"/>
        </pc:sldMkLst>
        <pc:spChg chg="mod">
          <ac:chgData name="Thomas Stensitzki" userId="75cafe6b-2f2a-469b-85c4-eec3b9c972ba" providerId="ADAL" clId="{ADB70B9A-E028-484E-93D9-2068C3FA1355}" dt="2023-03-01T13:32:26.811" v="1358"/>
          <ac:spMkLst>
            <pc:docMk/>
            <pc:sldMk cId="1757766559" sldId="675"/>
            <ac:spMk id="2" creationId="{0249A3FB-B117-07F5-9A07-948D42D267D7}"/>
          </ac:spMkLst>
        </pc:spChg>
        <pc:picChg chg="add mod">
          <ac:chgData name="Thomas Stensitzki" userId="75cafe6b-2f2a-469b-85c4-eec3b9c972ba" providerId="ADAL" clId="{ADB70B9A-E028-484E-93D9-2068C3FA1355}" dt="2023-03-01T13:32:46.617" v="1363" actId="1440"/>
          <ac:picMkLst>
            <pc:docMk/>
            <pc:sldMk cId="1757766559" sldId="675"/>
            <ac:picMk id="2050" creationId="{7B51B339-7233-8BC8-DD6B-738B977FD69B}"/>
          </ac:picMkLst>
        </pc:picChg>
      </pc:sldChg>
      <pc:sldChg chg="addSp modSp new mod modTransition">
        <pc:chgData name="Thomas Stensitzki" userId="75cafe6b-2f2a-469b-85c4-eec3b9c972ba" providerId="ADAL" clId="{ADB70B9A-E028-484E-93D9-2068C3FA1355}" dt="2023-03-01T15:15:23.115" v="1497"/>
        <pc:sldMkLst>
          <pc:docMk/>
          <pc:sldMk cId="2309531245" sldId="676"/>
        </pc:sldMkLst>
        <pc:spChg chg="mod">
          <ac:chgData name="Thomas Stensitzki" userId="75cafe6b-2f2a-469b-85c4-eec3b9c972ba" providerId="ADAL" clId="{ADB70B9A-E028-484E-93D9-2068C3FA1355}" dt="2023-03-01T13:33:40.203" v="1368"/>
          <ac:spMkLst>
            <pc:docMk/>
            <pc:sldMk cId="2309531245" sldId="676"/>
            <ac:spMk id="2" creationId="{79E0106B-D3AC-A629-86D2-9A1CCE4463C6}"/>
          </ac:spMkLst>
        </pc:spChg>
        <pc:picChg chg="add mod">
          <ac:chgData name="Thomas Stensitzki" userId="75cafe6b-2f2a-469b-85c4-eec3b9c972ba" providerId="ADAL" clId="{ADB70B9A-E028-484E-93D9-2068C3FA1355}" dt="2023-03-01T13:35:02.719" v="1382" actId="1440"/>
          <ac:picMkLst>
            <pc:docMk/>
            <pc:sldMk cId="2309531245" sldId="676"/>
            <ac:picMk id="3074" creationId="{7D40F008-A039-F720-0911-C95ED2ADABDE}"/>
          </ac:picMkLst>
        </pc:picChg>
      </pc:sldChg>
      <pc:sldChg chg="addSp delSp modSp add mod modTransition">
        <pc:chgData name="Thomas Stensitzki" userId="75cafe6b-2f2a-469b-85c4-eec3b9c972ba" providerId="ADAL" clId="{ADB70B9A-E028-484E-93D9-2068C3FA1355}" dt="2023-03-01T15:15:23.115" v="1497"/>
        <pc:sldMkLst>
          <pc:docMk/>
          <pc:sldMk cId="857527238" sldId="677"/>
        </pc:sldMkLst>
        <pc:picChg chg="add mod">
          <ac:chgData name="Thomas Stensitzki" userId="75cafe6b-2f2a-469b-85c4-eec3b9c972ba" providerId="ADAL" clId="{ADB70B9A-E028-484E-93D9-2068C3FA1355}" dt="2023-03-01T13:34:57.809" v="1381" actId="1440"/>
          <ac:picMkLst>
            <pc:docMk/>
            <pc:sldMk cId="857527238" sldId="677"/>
            <ac:picMk id="3" creationId="{68337573-0EAA-125B-408C-5D4F0D0D3755}"/>
          </ac:picMkLst>
        </pc:picChg>
        <pc:picChg chg="del">
          <ac:chgData name="Thomas Stensitzki" userId="75cafe6b-2f2a-469b-85c4-eec3b9c972ba" providerId="ADAL" clId="{ADB70B9A-E028-484E-93D9-2068C3FA1355}" dt="2023-03-01T13:34:51.370" v="1379" actId="478"/>
          <ac:picMkLst>
            <pc:docMk/>
            <pc:sldMk cId="857527238" sldId="677"/>
            <ac:picMk id="3074" creationId="{7D40F008-A039-F720-0911-C95ED2ADABDE}"/>
          </ac:picMkLst>
        </pc:picChg>
      </pc:sldChg>
      <pc:sldChg chg="addSp modSp new mod modTransition">
        <pc:chgData name="Thomas Stensitzki" userId="75cafe6b-2f2a-469b-85c4-eec3b9c972ba" providerId="ADAL" clId="{ADB70B9A-E028-484E-93D9-2068C3FA1355}" dt="2023-03-01T15:15:23.115" v="1497"/>
        <pc:sldMkLst>
          <pc:docMk/>
          <pc:sldMk cId="2554844056" sldId="678"/>
        </pc:sldMkLst>
        <pc:spChg chg="mod">
          <ac:chgData name="Thomas Stensitzki" userId="75cafe6b-2f2a-469b-85c4-eec3b9c972ba" providerId="ADAL" clId="{ADB70B9A-E028-484E-93D9-2068C3FA1355}" dt="2023-03-01T13:37:36.403" v="1412"/>
          <ac:spMkLst>
            <pc:docMk/>
            <pc:sldMk cId="2554844056" sldId="678"/>
            <ac:spMk id="2" creationId="{8696C861-CD09-0657-C3EB-D83217AA2443}"/>
          </ac:spMkLst>
        </pc:spChg>
        <pc:picChg chg="add mod">
          <ac:chgData name="Thomas Stensitzki" userId="75cafe6b-2f2a-469b-85c4-eec3b9c972ba" providerId="ADAL" clId="{ADB70B9A-E028-484E-93D9-2068C3FA1355}" dt="2023-03-01T13:37:55.484" v="1416" actId="1440"/>
          <ac:picMkLst>
            <pc:docMk/>
            <pc:sldMk cId="2554844056" sldId="678"/>
            <ac:picMk id="3" creationId="{CA7483D0-B402-CD47-7443-8B64DA58EE09}"/>
          </ac:picMkLst>
        </pc:picChg>
      </pc:sldChg>
      <pc:sldChg chg="modSp add mod ord modTransition">
        <pc:chgData name="Thomas Stensitzki" userId="75cafe6b-2f2a-469b-85c4-eec3b9c972ba" providerId="ADAL" clId="{ADB70B9A-E028-484E-93D9-2068C3FA1355}" dt="2023-03-01T15:15:23.115" v="1497"/>
        <pc:sldMkLst>
          <pc:docMk/>
          <pc:sldMk cId="3925627864" sldId="679"/>
        </pc:sldMkLst>
        <pc:spChg chg="mod">
          <ac:chgData name="Thomas Stensitzki" userId="75cafe6b-2f2a-469b-85c4-eec3b9c972ba" providerId="ADAL" clId="{ADB70B9A-E028-484E-93D9-2068C3FA1355}" dt="2023-03-01T13:38:39.988" v="1428" actId="14100"/>
          <ac:spMkLst>
            <pc:docMk/>
            <pc:sldMk cId="3925627864" sldId="679"/>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3798798789" sldId="680"/>
        </pc:sldMkLst>
        <pc:spChg chg="mod">
          <ac:chgData name="Thomas Stensitzki" userId="75cafe6b-2f2a-469b-85c4-eec3b9c972ba" providerId="ADAL" clId="{ADB70B9A-E028-484E-93D9-2068C3FA1355}" dt="2023-03-01T13:39:08.644" v="1433" actId="14100"/>
          <ac:spMkLst>
            <pc:docMk/>
            <pc:sldMk cId="3798798789" sldId="680"/>
            <ac:spMk id="2" creationId="{909DC09D-B9A6-4493-9A72-1CA7ECB1F5CA}"/>
          </ac:spMkLst>
        </pc:spChg>
      </pc:sldChg>
      <pc:sldChg chg="modSp add mod modTransition">
        <pc:chgData name="Thomas Stensitzki" userId="75cafe6b-2f2a-469b-85c4-eec3b9c972ba" providerId="ADAL" clId="{ADB70B9A-E028-484E-93D9-2068C3FA1355}" dt="2023-03-01T15:15:23.115" v="1497"/>
        <pc:sldMkLst>
          <pc:docMk/>
          <pc:sldMk cId="3850999508" sldId="681"/>
        </pc:sldMkLst>
        <pc:spChg chg="mod">
          <ac:chgData name="Thomas Stensitzki" userId="75cafe6b-2f2a-469b-85c4-eec3b9c972ba" providerId="ADAL" clId="{ADB70B9A-E028-484E-93D9-2068C3FA1355}" dt="2023-03-01T13:39:20.931" v="1436" actId="14100"/>
          <ac:spMkLst>
            <pc:docMk/>
            <pc:sldMk cId="3850999508" sldId="681"/>
            <ac:spMk id="2" creationId="{909DC09D-B9A6-4493-9A72-1CA7ECB1F5CA}"/>
          </ac:spMkLst>
        </pc:spChg>
      </pc:sldChg>
      <pc:sldChg chg="modSp add mod modTransition">
        <pc:chgData name="Thomas Stensitzki" userId="75cafe6b-2f2a-469b-85c4-eec3b9c972ba" providerId="ADAL" clId="{ADB70B9A-E028-484E-93D9-2068C3FA1355}" dt="2023-03-01T15:15:23.115" v="1497"/>
        <pc:sldMkLst>
          <pc:docMk/>
          <pc:sldMk cId="2152297632" sldId="682"/>
        </pc:sldMkLst>
        <pc:spChg chg="mod">
          <ac:chgData name="Thomas Stensitzki" userId="75cafe6b-2f2a-469b-85c4-eec3b9c972ba" providerId="ADAL" clId="{ADB70B9A-E028-484E-93D9-2068C3FA1355}" dt="2023-03-01T13:39:32.026" v="1444" actId="14100"/>
          <ac:spMkLst>
            <pc:docMk/>
            <pc:sldMk cId="2152297632" sldId="682"/>
            <ac:spMk id="2" creationId="{909DC09D-B9A6-4493-9A72-1CA7ECB1F5CA}"/>
          </ac:spMkLst>
        </pc:spChg>
      </pc:sldChg>
      <pc:sldChg chg="modSp add mod modTransition">
        <pc:chgData name="Thomas Stensitzki" userId="75cafe6b-2f2a-469b-85c4-eec3b9c972ba" providerId="ADAL" clId="{ADB70B9A-E028-484E-93D9-2068C3FA1355}" dt="2023-03-01T15:15:23.115" v="1497"/>
        <pc:sldMkLst>
          <pc:docMk/>
          <pc:sldMk cId="476894528" sldId="683"/>
        </pc:sldMkLst>
        <pc:spChg chg="mod">
          <ac:chgData name="Thomas Stensitzki" userId="75cafe6b-2f2a-469b-85c4-eec3b9c972ba" providerId="ADAL" clId="{ADB70B9A-E028-484E-93D9-2068C3FA1355}" dt="2023-03-01T13:39:46.585" v="1447" actId="14100"/>
          <ac:spMkLst>
            <pc:docMk/>
            <pc:sldMk cId="476894528" sldId="683"/>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2385236446" sldId="684"/>
        </pc:sldMkLst>
        <pc:spChg chg="mod">
          <ac:chgData name="Thomas Stensitzki" userId="75cafe6b-2f2a-469b-85c4-eec3b9c972ba" providerId="ADAL" clId="{ADB70B9A-E028-484E-93D9-2068C3FA1355}" dt="2023-03-01T13:40:11.854" v="1452" actId="1076"/>
          <ac:spMkLst>
            <pc:docMk/>
            <pc:sldMk cId="2385236446" sldId="684"/>
            <ac:spMk id="2" creationId="{909DC09D-B9A6-4493-9A72-1CA7ECB1F5CA}"/>
          </ac:spMkLst>
        </pc:spChg>
      </pc:sldChg>
      <pc:sldChg chg="modSp add mod modTransition">
        <pc:chgData name="Thomas Stensitzki" userId="75cafe6b-2f2a-469b-85c4-eec3b9c972ba" providerId="ADAL" clId="{ADB70B9A-E028-484E-93D9-2068C3FA1355}" dt="2023-03-01T15:15:23.115" v="1497"/>
        <pc:sldMkLst>
          <pc:docMk/>
          <pc:sldMk cId="380254688" sldId="685"/>
        </pc:sldMkLst>
        <pc:spChg chg="mod">
          <ac:chgData name="Thomas Stensitzki" userId="75cafe6b-2f2a-469b-85c4-eec3b9c972ba" providerId="ADAL" clId="{ADB70B9A-E028-484E-93D9-2068C3FA1355}" dt="2023-03-01T13:40:21.337" v="1455" actId="14100"/>
          <ac:spMkLst>
            <pc:docMk/>
            <pc:sldMk cId="380254688" sldId="685"/>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1151479395" sldId="686"/>
        </pc:sldMkLst>
        <pc:spChg chg="mod">
          <ac:chgData name="Thomas Stensitzki" userId="75cafe6b-2f2a-469b-85c4-eec3b9c972ba" providerId="ADAL" clId="{ADB70B9A-E028-484E-93D9-2068C3FA1355}" dt="2023-03-01T13:40:58.370" v="1460" actId="14100"/>
          <ac:spMkLst>
            <pc:docMk/>
            <pc:sldMk cId="1151479395" sldId="686"/>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3396655959" sldId="687"/>
        </pc:sldMkLst>
        <pc:spChg chg="mod">
          <ac:chgData name="Thomas Stensitzki" userId="75cafe6b-2f2a-469b-85c4-eec3b9c972ba" providerId="ADAL" clId="{ADB70B9A-E028-484E-93D9-2068C3FA1355}" dt="2023-03-01T13:41:16.160" v="1468" actId="14100"/>
          <ac:spMkLst>
            <pc:docMk/>
            <pc:sldMk cId="3396655959" sldId="687"/>
            <ac:spMk id="2" creationId="{909DC09D-B9A6-4493-9A72-1CA7ECB1F5CA}"/>
          </ac:spMkLst>
        </pc:spChg>
      </pc:sldChg>
      <pc:sldChg chg="modSp add mod modTransition">
        <pc:chgData name="Thomas Stensitzki" userId="75cafe6b-2f2a-469b-85c4-eec3b9c972ba" providerId="ADAL" clId="{ADB70B9A-E028-484E-93D9-2068C3FA1355}" dt="2023-03-01T15:15:23.115" v="1497"/>
        <pc:sldMkLst>
          <pc:docMk/>
          <pc:sldMk cId="3879280141" sldId="688"/>
        </pc:sldMkLst>
        <pc:spChg chg="mod">
          <ac:chgData name="Thomas Stensitzki" userId="75cafe6b-2f2a-469b-85c4-eec3b9c972ba" providerId="ADAL" clId="{ADB70B9A-E028-484E-93D9-2068C3FA1355}" dt="2023-03-01T13:41:25.703" v="1471" actId="14100"/>
          <ac:spMkLst>
            <pc:docMk/>
            <pc:sldMk cId="3879280141" sldId="688"/>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882736164" sldId="689"/>
        </pc:sldMkLst>
        <pc:spChg chg="mod">
          <ac:chgData name="Thomas Stensitzki" userId="75cafe6b-2f2a-469b-85c4-eec3b9c972ba" providerId="ADAL" clId="{ADB70B9A-E028-484E-93D9-2068C3FA1355}" dt="2023-03-01T13:41:41.011" v="1475" actId="1076"/>
          <ac:spMkLst>
            <pc:docMk/>
            <pc:sldMk cId="882736164" sldId="689"/>
            <ac:spMk id="2" creationId="{909DC09D-B9A6-4493-9A72-1CA7ECB1F5CA}"/>
          </ac:spMkLst>
        </pc:spChg>
        <pc:spChg chg="mod">
          <ac:chgData name="Thomas Stensitzki" userId="75cafe6b-2f2a-469b-85c4-eec3b9c972ba" providerId="ADAL" clId="{ADB70B9A-E028-484E-93D9-2068C3FA1355}" dt="2023-03-01T13:41:43.529" v="1476" actId="20577"/>
          <ac:spMkLst>
            <pc:docMk/>
            <pc:sldMk cId="882736164" sldId="689"/>
            <ac:spMk id="5" creationId="{C24DACB5-1BEC-4C86-9652-BAFD8DE56FEF}"/>
          </ac:spMkLst>
        </pc:spChg>
      </pc:sldChg>
      <pc:sldChg chg="modSp add mod ord modTransition">
        <pc:chgData name="Thomas Stensitzki" userId="75cafe6b-2f2a-469b-85c4-eec3b9c972ba" providerId="ADAL" clId="{ADB70B9A-E028-484E-93D9-2068C3FA1355}" dt="2023-03-01T15:15:23.115" v="1497"/>
        <pc:sldMkLst>
          <pc:docMk/>
          <pc:sldMk cId="2999548056" sldId="690"/>
        </pc:sldMkLst>
        <pc:spChg chg="mod">
          <ac:chgData name="Thomas Stensitzki" userId="75cafe6b-2f2a-469b-85c4-eec3b9c972ba" providerId="ADAL" clId="{ADB70B9A-E028-484E-93D9-2068C3FA1355}" dt="2023-03-01T13:41:57.828" v="1481" actId="14100"/>
          <ac:spMkLst>
            <pc:docMk/>
            <pc:sldMk cId="2999548056" sldId="690"/>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3382179983" sldId="691"/>
        </pc:sldMkLst>
        <pc:spChg chg="mod">
          <ac:chgData name="Thomas Stensitzki" userId="75cafe6b-2f2a-469b-85c4-eec3b9c972ba" providerId="ADAL" clId="{ADB70B9A-E028-484E-93D9-2068C3FA1355}" dt="2023-03-01T13:42:04.432" v="1485" actId="1076"/>
          <ac:spMkLst>
            <pc:docMk/>
            <pc:sldMk cId="3382179983" sldId="691"/>
            <ac:spMk id="2" creationId="{909DC09D-B9A6-4493-9A72-1CA7ECB1F5CA}"/>
          </ac:spMkLst>
        </pc:spChg>
      </pc:sldChg>
      <pc:sldChg chg="modSp add mod modTransition">
        <pc:chgData name="Thomas Stensitzki" userId="75cafe6b-2f2a-469b-85c4-eec3b9c972ba" providerId="ADAL" clId="{ADB70B9A-E028-484E-93D9-2068C3FA1355}" dt="2023-03-01T15:15:23.115" v="1497"/>
        <pc:sldMkLst>
          <pc:docMk/>
          <pc:sldMk cId="2967036620" sldId="692"/>
        </pc:sldMkLst>
        <pc:spChg chg="mod">
          <ac:chgData name="Thomas Stensitzki" userId="75cafe6b-2f2a-469b-85c4-eec3b9c972ba" providerId="ADAL" clId="{ADB70B9A-E028-484E-93D9-2068C3FA1355}" dt="2023-03-01T13:42:13.454" v="1487" actId="1076"/>
          <ac:spMkLst>
            <pc:docMk/>
            <pc:sldMk cId="2967036620" sldId="692"/>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48805967" sldId="693"/>
        </pc:sldMkLst>
        <pc:spChg chg="mod">
          <ac:chgData name="Thomas Stensitzki" userId="75cafe6b-2f2a-469b-85c4-eec3b9c972ba" providerId="ADAL" clId="{ADB70B9A-E028-484E-93D9-2068C3FA1355}" dt="2023-03-01T13:42:24.955" v="1491" actId="1076"/>
          <ac:spMkLst>
            <pc:docMk/>
            <pc:sldMk cId="48805967" sldId="693"/>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1294646207" sldId="694"/>
        </pc:sldMkLst>
        <pc:spChg chg="mod">
          <ac:chgData name="Thomas Stensitzki" userId="75cafe6b-2f2a-469b-85c4-eec3b9c972ba" providerId="ADAL" clId="{ADB70B9A-E028-484E-93D9-2068C3FA1355}" dt="2023-03-01T13:42:36.018" v="1496" actId="14100"/>
          <ac:spMkLst>
            <pc:docMk/>
            <pc:sldMk cId="1294646207" sldId="694"/>
            <ac:spMk id="2" creationId="{909DC09D-B9A6-4493-9A72-1CA7ECB1F5CA}"/>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ptos" panose="020B00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ptos" panose="020B0004020202020204" pitchFamily="34" charset="0"/>
              </a:defRPr>
            </a:lvl1pPr>
          </a:lstStyle>
          <a:p>
            <a:fld id="{1A951A38-604E-46AF-B68B-4691B9CFFAF5}" type="datetimeFigureOut">
              <a:rPr lang="de-DE" smtClean="0"/>
              <a:pPr/>
              <a:t>31.10.2023</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ptos" panose="020B00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ptos" panose="020B0004020202020204" pitchFamily="34" charset="0"/>
              </a:defRPr>
            </a:lvl1pPr>
          </a:lstStyle>
          <a:p>
            <a:fld id="{3493B9C7-8C41-44EF-A755-70B1D5727268}" type="slidenum">
              <a:rPr lang="de-DE" smtClean="0"/>
              <a:pPr/>
              <a:t>‹Nr.›</a:t>
            </a:fld>
            <a:endParaRPr lang="de-DE" dirty="0"/>
          </a:p>
        </p:txBody>
      </p:sp>
    </p:spTree>
    <p:extLst>
      <p:ext uri="{BB962C8B-B14F-4D97-AF65-F5344CB8AC3E}">
        <p14:creationId xmlns:p14="http://schemas.microsoft.com/office/powerpoint/2010/main" val="12145769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ptos" panose="020B0004020202020204" pitchFamily="34" charset="0"/>
        <a:ea typeface="+mn-ea"/>
        <a:cs typeface="+mn-cs"/>
      </a:defRPr>
    </a:lvl1pPr>
    <a:lvl2pPr marL="457200" algn="l" defTabSz="914400" rtl="0" eaLnBrk="1" latinLnBrk="0" hangingPunct="1">
      <a:defRPr sz="1200" kern="1200">
        <a:solidFill>
          <a:schemeClr val="tx1"/>
        </a:solidFill>
        <a:latin typeface="Aptos" panose="020B0004020202020204" pitchFamily="34" charset="0"/>
        <a:ea typeface="+mn-ea"/>
        <a:cs typeface="+mn-cs"/>
      </a:defRPr>
    </a:lvl2pPr>
    <a:lvl3pPr marL="914400" algn="l" defTabSz="914400" rtl="0" eaLnBrk="1" latinLnBrk="0" hangingPunct="1">
      <a:defRPr sz="1200" kern="1200">
        <a:solidFill>
          <a:schemeClr val="tx1"/>
        </a:solidFill>
        <a:latin typeface="Aptos" panose="020B0004020202020204" pitchFamily="34" charset="0"/>
        <a:ea typeface="+mn-ea"/>
        <a:cs typeface="+mn-cs"/>
      </a:defRPr>
    </a:lvl3pPr>
    <a:lvl4pPr marL="1371600" algn="l" defTabSz="914400" rtl="0" eaLnBrk="1" latinLnBrk="0" hangingPunct="1">
      <a:defRPr sz="1200" kern="1200">
        <a:solidFill>
          <a:schemeClr val="tx1"/>
        </a:solidFill>
        <a:latin typeface="Aptos" panose="020B0004020202020204" pitchFamily="34" charset="0"/>
        <a:ea typeface="+mn-ea"/>
        <a:cs typeface="+mn-cs"/>
      </a:defRPr>
    </a:lvl4pPr>
    <a:lvl5pPr marL="1828800" algn="l" defTabSz="914400" rtl="0" eaLnBrk="1" latinLnBrk="0" hangingPunct="1">
      <a:defRPr sz="1200" kern="1200">
        <a:solidFill>
          <a:schemeClr val="tx1"/>
        </a:solidFill>
        <a:latin typeface="Aptos" panose="020B00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est.jcteams.info/jcteamsinfo/docs/MC672518.html"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app.cloudscout.one/evergreen-item/mc678002/" TargetMode="External"/><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1</a:t>
            </a:fld>
            <a:endParaRPr lang="de-DE"/>
          </a:p>
        </p:txBody>
      </p:sp>
    </p:spTree>
    <p:extLst>
      <p:ext uri="{BB962C8B-B14F-4D97-AF65-F5344CB8AC3E}">
        <p14:creationId xmlns:p14="http://schemas.microsoft.com/office/powerpoint/2010/main" val="33859772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16</a:t>
            </a:fld>
            <a:endParaRPr lang="de-DE"/>
          </a:p>
        </p:txBody>
      </p:sp>
    </p:spTree>
    <p:extLst>
      <p:ext uri="{BB962C8B-B14F-4D97-AF65-F5344CB8AC3E}">
        <p14:creationId xmlns:p14="http://schemas.microsoft.com/office/powerpoint/2010/main" val="27188715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18</a:t>
            </a:fld>
            <a:endParaRPr lang="de-DE"/>
          </a:p>
        </p:txBody>
      </p:sp>
    </p:spTree>
    <p:extLst>
      <p:ext uri="{BB962C8B-B14F-4D97-AF65-F5344CB8AC3E}">
        <p14:creationId xmlns:p14="http://schemas.microsoft.com/office/powerpoint/2010/main" val="772818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20</a:t>
            </a:fld>
            <a:endParaRPr lang="de-DE"/>
          </a:p>
        </p:txBody>
      </p:sp>
    </p:spTree>
    <p:extLst>
      <p:ext uri="{BB962C8B-B14F-4D97-AF65-F5344CB8AC3E}">
        <p14:creationId xmlns:p14="http://schemas.microsoft.com/office/powerpoint/2010/main" val="13965442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23</a:t>
            </a:fld>
            <a:endParaRPr lang="de-DE"/>
          </a:p>
        </p:txBody>
      </p:sp>
    </p:spTree>
    <p:extLst>
      <p:ext uri="{BB962C8B-B14F-4D97-AF65-F5344CB8AC3E}">
        <p14:creationId xmlns:p14="http://schemas.microsoft.com/office/powerpoint/2010/main" val="23068618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25</a:t>
            </a:fld>
            <a:endParaRPr lang="de-DE"/>
          </a:p>
        </p:txBody>
      </p:sp>
    </p:spTree>
    <p:extLst>
      <p:ext uri="{BB962C8B-B14F-4D97-AF65-F5344CB8AC3E}">
        <p14:creationId xmlns:p14="http://schemas.microsoft.com/office/powerpoint/2010/main" val="27250810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26</a:t>
            </a:fld>
            <a:endParaRPr lang="de-DE"/>
          </a:p>
        </p:txBody>
      </p:sp>
    </p:spTree>
    <p:extLst>
      <p:ext uri="{BB962C8B-B14F-4D97-AF65-F5344CB8AC3E}">
        <p14:creationId xmlns:p14="http://schemas.microsoft.com/office/powerpoint/2010/main" val="26326329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28</a:t>
            </a:fld>
            <a:endParaRPr lang="de-DE"/>
          </a:p>
        </p:txBody>
      </p:sp>
    </p:spTree>
    <p:extLst>
      <p:ext uri="{BB962C8B-B14F-4D97-AF65-F5344CB8AC3E}">
        <p14:creationId xmlns:p14="http://schemas.microsoft.com/office/powerpoint/2010/main" val="21749112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29</a:t>
            </a:fld>
            <a:endParaRPr lang="de-DE"/>
          </a:p>
        </p:txBody>
      </p:sp>
    </p:spTree>
    <p:extLst>
      <p:ext uri="{BB962C8B-B14F-4D97-AF65-F5344CB8AC3E}">
        <p14:creationId xmlns:p14="http://schemas.microsoft.com/office/powerpoint/2010/main" val="32237545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e Front Row layout is improved to promote pinned or spotlighted participants to the center stage when there is no shared content in the meeting. This addresses customer feedback on empty space utilization and aligns pinned or spotlighted participants treatment across single and dual front of room displays. Additionally, active speaker video is promoted to the center stage to utilize display to create immersive experience for in room users. For single display configurations, when no one is pinned, spotlighted or sharing content, the most recent active speaker video will be promoted to the center. In dual display mode, when no one is pinned, spotlighted or sharing content, two most recent active speaker videos are promoted to the center on each screen. When someone is sharing content in the meeting, it’s displayed on one display while the other display shows the most recent active video speaker. </a:t>
            </a:r>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30</a:t>
            </a:fld>
            <a:endParaRPr lang="de-DE"/>
          </a:p>
        </p:txBody>
      </p:sp>
    </p:spTree>
    <p:extLst>
      <p:ext uri="{BB962C8B-B14F-4D97-AF65-F5344CB8AC3E}">
        <p14:creationId xmlns:p14="http://schemas.microsoft.com/office/powerpoint/2010/main" val="474743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31</a:t>
            </a:fld>
            <a:endParaRPr lang="de-DE"/>
          </a:p>
        </p:txBody>
      </p:sp>
    </p:spTree>
    <p:extLst>
      <p:ext uri="{BB962C8B-B14F-4D97-AF65-F5344CB8AC3E}">
        <p14:creationId xmlns:p14="http://schemas.microsoft.com/office/powerpoint/2010/main" val="4059775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2</a:t>
            </a:fld>
            <a:endParaRPr lang="de-DE"/>
          </a:p>
        </p:txBody>
      </p:sp>
    </p:spTree>
    <p:extLst>
      <p:ext uri="{BB962C8B-B14F-4D97-AF65-F5344CB8AC3E}">
        <p14:creationId xmlns:p14="http://schemas.microsoft.com/office/powerpoint/2010/main" val="31188441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34</a:t>
            </a:fld>
            <a:endParaRPr lang="de-DE"/>
          </a:p>
        </p:txBody>
      </p:sp>
    </p:spTree>
    <p:extLst>
      <p:ext uri="{BB962C8B-B14F-4D97-AF65-F5344CB8AC3E}">
        <p14:creationId xmlns:p14="http://schemas.microsoft.com/office/powerpoint/2010/main" val="7040633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37</a:t>
            </a:fld>
            <a:endParaRPr lang="de-DE"/>
          </a:p>
        </p:txBody>
      </p:sp>
    </p:spTree>
    <p:extLst>
      <p:ext uri="{BB962C8B-B14F-4D97-AF65-F5344CB8AC3E}">
        <p14:creationId xmlns:p14="http://schemas.microsoft.com/office/powerpoint/2010/main" val="20494841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39</a:t>
            </a:fld>
            <a:endParaRPr lang="de-DE"/>
          </a:p>
        </p:txBody>
      </p:sp>
    </p:spTree>
    <p:extLst>
      <p:ext uri="{BB962C8B-B14F-4D97-AF65-F5344CB8AC3E}">
        <p14:creationId xmlns:p14="http://schemas.microsoft.com/office/powerpoint/2010/main" val="17803819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41</a:t>
            </a:fld>
            <a:endParaRPr lang="de-DE"/>
          </a:p>
        </p:txBody>
      </p:sp>
    </p:spTree>
    <p:extLst>
      <p:ext uri="{BB962C8B-B14F-4D97-AF65-F5344CB8AC3E}">
        <p14:creationId xmlns:p14="http://schemas.microsoft.com/office/powerpoint/2010/main" val="12776267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43</a:t>
            </a:fld>
            <a:endParaRPr lang="de-DE"/>
          </a:p>
        </p:txBody>
      </p:sp>
    </p:spTree>
    <p:extLst>
      <p:ext uri="{BB962C8B-B14F-4D97-AF65-F5344CB8AC3E}">
        <p14:creationId xmlns:p14="http://schemas.microsoft.com/office/powerpoint/2010/main" val="17936585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46</a:t>
            </a:fld>
            <a:endParaRPr lang="de-DE"/>
          </a:p>
        </p:txBody>
      </p:sp>
    </p:spTree>
    <p:extLst>
      <p:ext uri="{BB962C8B-B14F-4D97-AF65-F5344CB8AC3E}">
        <p14:creationId xmlns:p14="http://schemas.microsoft.com/office/powerpoint/2010/main" val="16020607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48</a:t>
            </a:fld>
            <a:endParaRPr lang="de-DE"/>
          </a:p>
        </p:txBody>
      </p:sp>
    </p:spTree>
    <p:extLst>
      <p:ext uri="{BB962C8B-B14F-4D97-AF65-F5344CB8AC3E}">
        <p14:creationId xmlns:p14="http://schemas.microsoft.com/office/powerpoint/2010/main" val="36175095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hlinkClick r:id="rId3"/>
              </a:rPr>
              <a:t>MC672518 - (Updated) Avatars: Hardware Requirements and Service Plan Update (jcteams.info)</a:t>
            </a:r>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pPr/>
              <a:t>52</a:t>
            </a:fld>
            <a:endParaRPr lang="de-DE" dirty="0"/>
          </a:p>
        </p:txBody>
      </p:sp>
    </p:spTree>
    <p:extLst>
      <p:ext uri="{BB962C8B-B14F-4D97-AF65-F5344CB8AC3E}">
        <p14:creationId xmlns:p14="http://schemas.microsoft.com/office/powerpoint/2010/main" val="10060759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hlinkClick r:id="rId3"/>
              </a:rPr>
              <a:t>MC678002 - Introducing Microsoft Teams Town hall | cloudscout.one</a:t>
            </a:r>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pPr/>
              <a:t>53</a:t>
            </a:fld>
            <a:endParaRPr lang="de-DE" dirty="0"/>
          </a:p>
        </p:txBody>
      </p:sp>
    </p:spTree>
    <p:extLst>
      <p:ext uri="{BB962C8B-B14F-4D97-AF65-F5344CB8AC3E}">
        <p14:creationId xmlns:p14="http://schemas.microsoft.com/office/powerpoint/2010/main" val="35029681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55</a:t>
            </a:fld>
            <a:endParaRPr lang="de-DE"/>
          </a:p>
        </p:txBody>
      </p:sp>
    </p:spTree>
    <p:extLst>
      <p:ext uri="{BB962C8B-B14F-4D97-AF65-F5344CB8AC3E}">
        <p14:creationId xmlns:p14="http://schemas.microsoft.com/office/powerpoint/2010/main" val="1094454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4</a:t>
            </a:fld>
            <a:endParaRPr lang="de-DE"/>
          </a:p>
        </p:txBody>
      </p:sp>
    </p:spTree>
    <p:extLst>
      <p:ext uri="{BB962C8B-B14F-4D97-AF65-F5344CB8AC3E}">
        <p14:creationId xmlns:p14="http://schemas.microsoft.com/office/powerpoint/2010/main" val="40063339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57</a:t>
            </a:fld>
            <a:endParaRPr lang="de-DE"/>
          </a:p>
        </p:txBody>
      </p:sp>
    </p:spTree>
    <p:extLst>
      <p:ext uri="{BB962C8B-B14F-4D97-AF65-F5344CB8AC3E}">
        <p14:creationId xmlns:p14="http://schemas.microsoft.com/office/powerpoint/2010/main" val="27461434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3493B9C7-8C41-44EF-A755-70B1D5727268}" type="slidenum">
              <a:rPr lang="de-DE" smtClean="0"/>
              <a:t>58</a:t>
            </a:fld>
            <a:endParaRPr lang="de-DE"/>
          </a:p>
        </p:txBody>
      </p:sp>
    </p:spTree>
    <p:extLst>
      <p:ext uri="{BB962C8B-B14F-4D97-AF65-F5344CB8AC3E}">
        <p14:creationId xmlns:p14="http://schemas.microsoft.com/office/powerpoint/2010/main" val="28771454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60</a:t>
            </a:fld>
            <a:endParaRPr lang="de-DE"/>
          </a:p>
        </p:txBody>
      </p:sp>
    </p:spTree>
    <p:extLst>
      <p:ext uri="{BB962C8B-B14F-4D97-AF65-F5344CB8AC3E}">
        <p14:creationId xmlns:p14="http://schemas.microsoft.com/office/powerpoint/2010/main" val="12384666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61</a:t>
            </a:fld>
            <a:endParaRPr lang="de-DE"/>
          </a:p>
        </p:txBody>
      </p:sp>
    </p:spTree>
    <p:extLst>
      <p:ext uri="{BB962C8B-B14F-4D97-AF65-F5344CB8AC3E}">
        <p14:creationId xmlns:p14="http://schemas.microsoft.com/office/powerpoint/2010/main" val="41930297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5</a:t>
            </a:fld>
            <a:endParaRPr lang="de-DE"/>
          </a:p>
        </p:txBody>
      </p:sp>
    </p:spTree>
    <p:extLst>
      <p:ext uri="{BB962C8B-B14F-4D97-AF65-F5344CB8AC3E}">
        <p14:creationId xmlns:p14="http://schemas.microsoft.com/office/powerpoint/2010/main" val="41930297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6</a:t>
            </a:fld>
            <a:endParaRPr lang="de-DE"/>
          </a:p>
        </p:txBody>
      </p:sp>
    </p:spTree>
    <p:extLst>
      <p:ext uri="{BB962C8B-B14F-4D97-AF65-F5344CB8AC3E}">
        <p14:creationId xmlns:p14="http://schemas.microsoft.com/office/powerpoint/2010/main" val="26827575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7</a:t>
            </a:fld>
            <a:endParaRPr lang="de-DE"/>
          </a:p>
        </p:txBody>
      </p:sp>
    </p:spTree>
    <p:extLst>
      <p:ext uri="{BB962C8B-B14F-4D97-AF65-F5344CB8AC3E}">
        <p14:creationId xmlns:p14="http://schemas.microsoft.com/office/powerpoint/2010/main" val="10944546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9</a:t>
            </a:fld>
            <a:endParaRPr lang="de-DE"/>
          </a:p>
        </p:txBody>
      </p:sp>
    </p:spTree>
    <p:extLst>
      <p:ext uri="{BB962C8B-B14F-4D97-AF65-F5344CB8AC3E}">
        <p14:creationId xmlns:p14="http://schemas.microsoft.com/office/powerpoint/2010/main" val="36320703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11</a:t>
            </a:fld>
            <a:endParaRPr lang="de-DE"/>
          </a:p>
        </p:txBody>
      </p:sp>
    </p:spTree>
    <p:extLst>
      <p:ext uri="{BB962C8B-B14F-4D97-AF65-F5344CB8AC3E}">
        <p14:creationId xmlns:p14="http://schemas.microsoft.com/office/powerpoint/2010/main" val="18250720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13</a:t>
            </a:fld>
            <a:endParaRPr lang="de-DE"/>
          </a:p>
        </p:txBody>
      </p:sp>
    </p:spTree>
    <p:extLst>
      <p:ext uri="{BB962C8B-B14F-4D97-AF65-F5344CB8AC3E}">
        <p14:creationId xmlns:p14="http://schemas.microsoft.com/office/powerpoint/2010/main" val="41128965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B18089-C25B-431F-A9A1-5E1264C83FC1}"/>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780D1149-82DA-4401-B6A3-EB9521C7D70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pic>
        <p:nvPicPr>
          <p:cNvPr id="8" name="Grafik 7">
            <a:extLst>
              <a:ext uri="{FF2B5EF4-FFF2-40B4-BE49-F238E27FC236}">
                <a16:creationId xmlns:a16="http://schemas.microsoft.com/office/drawing/2014/main" id="{8D540479-1C51-46F3-86B7-3832D2A57F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736" y="1782696"/>
            <a:ext cx="12277804" cy="6138902"/>
          </a:xfrm>
          <a:prstGeom prst="rect">
            <a:avLst/>
          </a:prstGeom>
        </p:spPr>
      </p:pic>
      <p:sp>
        <p:nvSpPr>
          <p:cNvPr id="4" name="Fußzeilenplatzhalter 4">
            <a:extLst>
              <a:ext uri="{FF2B5EF4-FFF2-40B4-BE49-F238E27FC236}">
                <a16:creationId xmlns:a16="http://schemas.microsoft.com/office/drawing/2014/main" id="{DC492C04-9595-4D88-A6FA-ABEAC2147667}"/>
              </a:ext>
            </a:extLst>
          </p:cNvPr>
          <p:cNvSpPr txBox="1">
            <a:spLocks/>
          </p:cNvSpPr>
          <p:nvPr userDrawn="1"/>
        </p:nvSpPr>
        <p:spPr>
          <a:xfrm>
            <a:off x="838200" y="6492875"/>
            <a:ext cx="3962400"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dirty="0">
                <a:solidFill>
                  <a:schemeClr val="bg1"/>
                </a:solidFill>
                <a:latin typeface="Aptos" panose="020B0004020202020204" pitchFamily="34" charset="0"/>
              </a:rPr>
              <a:t>@teamsugberlin #MicrosoftTeams #TeamsUGBerlin</a:t>
            </a:r>
          </a:p>
        </p:txBody>
      </p:sp>
    </p:spTree>
    <p:extLst>
      <p:ext uri="{BB962C8B-B14F-4D97-AF65-F5344CB8AC3E}">
        <p14:creationId xmlns:p14="http://schemas.microsoft.com/office/powerpoint/2010/main" val="33649059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FC2810-4A92-47BB-AE91-E37649FE043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06669CE4-8003-4D90-9941-7C4E515652B2}"/>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732824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5EA668-729F-4A91-9A40-DC117350EFDF}"/>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14ED502-77BB-4B3D-ACCE-8C1D48B76BB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Tree>
    <p:extLst>
      <p:ext uri="{BB962C8B-B14F-4D97-AF65-F5344CB8AC3E}">
        <p14:creationId xmlns:p14="http://schemas.microsoft.com/office/powerpoint/2010/main" val="3369166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6E33DA-856B-48F9-AB8D-77FA8F2F1C4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6836A7A7-A1EA-4336-A778-67D515CDDB9F}"/>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3ECF341B-D75D-4CD2-94D7-36003A4DC30F}"/>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0455743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40EE4C-BF58-4CBC-BB45-2578DAE7ADD8}"/>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F227C1BA-6849-4489-BDB5-DBFCEA0DF5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BAC864D3-14A4-4957-8AB3-52BB33FE2CE7}"/>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B9AB4D8F-8143-4B20-B53C-4F9A91A356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9EA8F5A9-B426-4832-8F2B-505EBB6C806B}"/>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0034180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1E6CB6-23AB-4B4B-B06E-D9C442F02523}"/>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23952959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9836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E717003C-B53F-47AE-B026-2F6974852C5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dirty="0"/>
              <a:t>Mastertitelformat bearbeiten</a:t>
            </a:r>
          </a:p>
        </p:txBody>
      </p:sp>
      <p:sp>
        <p:nvSpPr>
          <p:cNvPr id="3" name="Textplatzhalter 2">
            <a:extLst>
              <a:ext uri="{FF2B5EF4-FFF2-40B4-BE49-F238E27FC236}">
                <a16:creationId xmlns:a16="http://schemas.microsoft.com/office/drawing/2014/main" id="{3B749CC0-CA66-4536-B60E-8E397EF41F2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8" name="Grafik 7">
            <a:extLst>
              <a:ext uri="{FF2B5EF4-FFF2-40B4-BE49-F238E27FC236}">
                <a16:creationId xmlns:a16="http://schemas.microsoft.com/office/drawing/2014/main" id="{0726139A-52EE-490A-831F-ABBD06DC71B9}"/>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058194" y="5572898"/>
            <a:ext cx="3133806" cy="1566903"/>
          </a:xfrm>
          <a:prstGeom prst="rect">
            <a:avLst/>
          </a:prstGeom>
        </p:spPr>
      </p:pic>
      <p:sp>
        <p:nvSpPr>
          <p:cNvPr id="9" name="Fußzeilenplatzhalter 4">
            <a:extLst>
              <a:ext uri="{FF2B5EF4-FFF2-40B4-BE49-F238E27FC236}">
                <a16:creationId xmlns:a16="http://schemas.microsoft.com/office/drawing/2014/main" id="{2406A12C-E783-4BE5-BEFC-AA493EA54917}"/>
              </a:ext>
            </a:extLst>
          </p:cNvPr>
          <p:cNvSpPr txBox="1">
            <a:spLocks/>
          </p:cNvSpPr>
          <p:nvPr userDrawn="1"/>
        </p:nvSpPr>
        <p:spPr>
          <a:xfrm>
            <a:off x="838200" y="6492875"/>
            <a:ext cx="3962400"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dirty="0">
                <a:latin typeface="Aptos" panose="020B0004020202020204" pitchFamily="34" charset="0"/>
              </a:rPr>
              <a:t>@teamsugberlin #MicrosoftTeams #TeamsUGBerlin</a:t>
            </a:r>
          </a:p>
        </p:txBody>
      </p:sp>
    </p:spTree>
    <p:extLst>
      <p:ext uri="{BB962C8B-B14F-4D97-AF65-F5344CB8AC3E}">
        <p14:creationId xmlns:p14="http://schemas.microsoft.com/office/powerpoint/2010/main" val="2779112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txStyles>
    <p:titleStyle>
      <a:lvl1pPr algn="l" defTabSz="914400" rtl="0" eaLnBrk="1" latinLnBrk="0" hangingPunct="1">
        <a:lnSpc>
          <a:spcPct val="90000"/>
        </a:lnSpc>
        <a:spcBef>
          <a:spcPct val="0"/>
        </a:spcBef>
        <a:buNone/>
        <a:defRPr sz="4400" kern="1200">
          <a:solidFill>
            <a:schemeClr val="tx1"/>
          </a:solidFill>
          <a:latin typeface="Aptos Light"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Clr>
          <a:schemeClr val="accent1">
            <a:lumMod val="75000"/>
          </a:schemeClr>
        </a:buClr>
        <a:buFont typeface="Wingdings" panose="05000000000000000000" pitchFamily="2" charset="2"/>
        <a:buChar char="§"/>
        <a:defRPr sz="2800" kern="1200">
          <a:solidFill>
            <a:schemeClr val="tx1"/>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Clr>
          <a:schemeClr val="accent1">
            <a:lumMod val="75000"/>
          </a:schemeClr>
        </a:buClr>
        <a:buFont typeface="Wingdings" panose="05000000000000000000" pitchFamily="2" charset="2"/>
        <a:buChar char="§"/>
        <a:defRPr sz="2400" kern="1200">
          <a:solidFill>
            <a:schemeClr val="tx1"/>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Clr>
          <a:schemeClr val="accent1">
            <a:lumMod val="75000"/>
          </a:schemeClr>
        </a:buClr>
        <a:buFont typeface="Wingdings" panose="05000000000000000000" pitchFamily="2" charset="2"/>
        <a:buChar char="§"/>
        <a:defRPr sz="2000" kern="1200">
          <a:solidFill>
            <a:schemeClr val="tx1"/>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Clr>
          <a:schemeClr val="accent1">
            <a:lumMod val="75000"/>
          </a:schemeClr>
        </a:buClr>
        <a:buFont typeface="Wingdings" panose="05000000000000000000" pitchFamily="2" charset="2"/>
        <a:buChar char="§"/>
        <a:defRPr sz="1800" kern="1200">
          <a:solidFill>
            <a:schemeClr val="tx1"/>
          </a:solidFill>
          <a:latin typeface="Aptos" panose="020B0004020202020204" pitchFamily="34" charset="0"/>
          <a:ea typeface="+mn-ea"/>
          <a:cs typeface="+mn-cs"/>
        </a:defRPr>
      </a:lvl4pPr>
      <a:lvl5pPr marL="2057400" indent="-228600" algn="l" defTabSz="914400" rtl="0" eaLnBrk="1" latinLnBrk="0" hangingPunct="1">
        <a:lnSpc>
          <a:spcPct val="90000"/>
        </a:lnSpc>
        <a:spcBef>
          <a:spcPts val="500"/>
        </a:spcBef>
        <a:buClr>
          <a:schemeClr val="accent1">
            <a:lumMod val="75000"/>
          </a:schemeClr>
        </a:buClr>
        <a:buFont typeface="Wingdings" panose="05000000000000000000" pitchFamily="2" charset="2"/>
        <a:buChar char="§"/>
        <a:defRPr sz="1800" kern="1200">
          <a:solidFill>
            <a:schemeClr val="tx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learn.microsoft.com/microsoftteams/settings-policies-reference?WT.mc_id=TM-MVP-5003086"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learn.microsoft.com/microsoftteams/settings-policies-reference?WT.mc_id=TM-MVP-5003086"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s://spirit21.com/"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8.svg"/></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s://learn.microsoft.com/microsoftteams/rooms/rooms-pro-management?WT.mc_id=TM-MVP-5003086" TargetMode="External"/><Relationship Id="rId2" Type="http://schemas.openxmlformats.org/officeDocument/2006/relationships/image" Target="../media/image19.png"/><Relationship Id="rId1" Type="http://schemas.openxmlformats.org/officeDocument/2006/relationships/slideLayout" Target="../slideLayouts/slideLayout2.xml"/><Relationship Id="rId4" Type="http://schemas.openxmlformats.org/officeDocument/2006/relationships/hyperlink" Target="https://portal.rooms.microsoft.com/"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link.heropost.io/ENowCQD" TargetMode="External"/><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hyperlink" Target="https://www.enowsoftware.com/" TargetMode="External"/><Relationship Id="rId5" Type="http://schemas.openxmlformats.org/officeDocument/2006/relationships/image" Target="../media/image6.png"/><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hyperlink" Target="https://go.microsoft.com/fwlink/?linkid=2249065" TargetMode="External"/><Relationship Id="rId2" Type="http://schemas.openxmlformats.org/officeDocument/2006/relationships/hyperlink" Target="https://go.microsoft.com/fwlink/?linkid=869428" TargetMode="Externa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hyperlink" Target="https://learn.microsoft.com/microsoftteams/use-real-time-telemetry-to-troubleshoot-poor-meeting-quality?WT.mc_id=TM-MVP-5003086" TargetMode="Externa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8.svg"/></Relationships>
</file>

<file path=ppt/slides/_rels/slide40.xml.rels><?xml version="1.0" encoding="UTF-8" standalone="yes"?>
<Relationships xmlns="http://schemas.openxmlformats.org/package/2006/relationships"><Relationship Id="rId2" Type="http://schemas.openxmlformats.org/officeDocument/2006/relationships/hyperlink" Target="https://learn.microsoft.com/microsoftteams/teams-privacy-oce-overview?WT.mc_id=TM-MVP-5003086" TargetMode="Externa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hyperlink" Target="https://techcommunity.microsoft.com/t5/microsoft-teams-blog/what-s-new-in-microsoft-teams-september-2023/ba-p/3942296?WT.mc_id=TM-MVP-5003086" TargetMode="External"/><Relationship Id="rId7" Type="http://schemas.openxmlformats.org/officeDocument/2006/relationships/hyperlink" Target="https://feedbackportal.microsoft.com/feedback/forum/ad198462-1c1c-ec11-b6e7-0022481f8472" TargetMode="External"/><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hyperlink" Target="https://techcommunity.microsoft.com/t5/microsoft-teams-community-blog/bg-p/MicrosoftTeamsCommunityBlog?WT.mc_id=TM-MVP-5003086" TargetMode="External"/><Relationship Id="rId5" Type="http://schemas.openxmlformats.org/officeDocument/2006/relationships/hyperlink" Target="https://techcommunity.microsoft.com/t5/microsoft-teams-blog/bg-p/MicrosoftTeamsBlog?WT.mc_id=TM-MVP-5003086" TargetMode="External"/><Relationship Id="rId4" Type="http://schemas.openxmlformats.org/officeDocument/2006/relationships/hyperlink" Target="https://techcommunity.microsoft.com/t5/education-blog/what-s-new-in-microsoft-teams-for-education-october-2023/ba-p/3943710?WT.mc_id=TM-MVP-5003086" TargetMode="External"/></Relationships>
</file>

<file path=ppt/slides/_rels/slide56.xml.rels><?xml version="1.0" encoding="UTF-8" standalone="yes"?>
<Relationships xmlns="http://schemas.openxmlformats.org/package/2006/relationships"><Relationship Id="rId3" Type="http://schemas.openxmlformats.org/officeDocument/2006/relationships/hyperlink" Target="https://admin.microsoft.com/#/MessageCenter" TargetMode="External"/><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hyperlink" Target="https://aka.ms/TeamsCommunityBlogger"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59.xml.rels><?xml version="1.0" encoding="UTF-8" standalone="yes"?>
<Relationships xmlns="http://schemas.openxmlformats.org/package/2006/relationships"><Relationship Id="rId3" Type="http://schemas.openxmlformats.org/officeDocument/2006/relationships/hyperlink" Target="https://teamsusergroup.berlin/meetup" TargetMode="External"/><Relationship Id="rId2" Type="http://schemas.openxmlformats.org/officeDocument/2006/relationships/hyperlink" Target="https://go.granikos.eu/TeamsUGForm" TargetMode="External"/><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29.png"/><Relationship Id="rId4" Type="http://schemas.openxmlformats.org/officeDocument/2006/relationships/hyperlink" Target="https://teamsusergroup.berlin/video"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hyperlink" Target="https://go.granikos.eu/TeamsMeetupBerlin" TargetMode="External"/><Relationship Id="rId2" Type="http://schemas.openxmlformats.org/officeDocument/2006/relationships/notesSlide" Target="../notesSlides/notesSlide32.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hyperlink" Target="https://teamsusergroup.berlin/register" TargetMode="Externa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hyperlink" Target="https://learn.microsoft.com/microsoftteams/new-teams-desktop-admin?WT.mc_id=TM-MVP-5003086"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A4A9C3-88F1-47B1-832C-DF14CF7A00CF}"/>
              </a:ext>
            </a:extLst>
          </p:cNvPr>
          <p:cNvSpPr>
            <a:spLocks noGrp="1"/>
          </p:cNvSpPr>
          <p:nvPr>
            <p:ph type="ctrTitle"/>
          </p:nvPr>
        </p:nvSpPr>
        <p:spPr/>
        <p:txBody>
          <a:bodyPr/>
          <a:lstStyle/>
          <a:p>
            <a:r>
              <a:rPr lang="de-DE" b="1" dirty="0"/>
              <a:t>Microsoft Teams</a:t>
            </a:r>
            <a:br>
              <a:rPr lang="de-DE" b="1" dirty="0"/>
            </a:br>
            <a:r>
              <a:rPr lang="de-DE" b="1" dirty="0"/>
              <a:t>User Group Berlin</a:t>
            </a:r>
          </a:p>
        </p:txBody>
      </p:sp>
      <p:sp>
        <p:nvSpPr>
          <p:cNvPr id="3" name="Untertitel 2">
            <a:extLst>
              <a:ext uri="{FF2B5EF4-FFF2-40B4-BE49-F238E27FC236}">
                <a16:creationId xmlns:a16="http://schemas.microsoft.com/office/drawing/2014/main" id="{CBA95633-B02D-4A15-A8B1-A38E0A70FD27}"/>
              </a:ext>
            </a:extLst>
          </p:cNvPr>
          <p:cNvSpPr>
            <a:spLocks noGrp="1"/>
          </p:cNvSpPr>
          <p:nvPr>
            <p:ph type="subTitle" idx="1"/>
          </p:nvPr>
        </p:nvSpPr>
        <p:spPr/>
        <p:txBody>
          <a:bodyPr/>
          <a:lstStyle/>
          <a:p>
            <a:r>
              <a:rPr lang="de-DE" b="1" dirty="0"/>
              <a:t>26. Oktober 2023</a:t>
            </a:r>
          </a:p>
          <a:p>
            <a:endParaRPr lang="de-DE" b="1" dirty="0"/>
          </a:p>
          <a:p>
            <a:endParaRPr lang="de-DE" b="1" dirty="0"/>
          </a:p>
          <a:p>
            <a:r>
              <a:rPr lang="de-DE" b="1" dirty="0"/>
              <a:t>Meetup #27</a:t>
            </a:r>
          </a:p>
        </p:txBody>
      </p:sp>
      <p:pic>
        <p:nvPicPr>
          <p:cNvPr id="5" name="Grafik 4" descr="Ein Bild, das Symbol, Logo, Grafiken, Screenshot enthält.&#10;&#10;Automatisch generierte Beschreibung">
            <a:extLst>
              <a:ext uri="{FF2B5EF4-FFF2-40B4-BE49-F238E27FC236}">
                <a16:creationId xmlns:a16="http://schemas.microsoft.com/office/drawing/2014/main" id="{C13428CA-74A7-C843-3D12-E6FB7CD644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6800" y="-126999"/>
            <a:ext cx="2438400" cy="2438400"/>
          </a:xfrm>
          <a:prstGeom prst="rect">
            <a:avLst/>
          </a:prstGeom>
        </p:spPr>
      </p:pic>
    </p:spTree>
    <p:extLst>
      <p:ext uri="{BB962C8B-B14F-4D97-AF65-F5344CB8AC3E}">
        <p14:creationId xmlns:p14="http://schemas.microsoft.com/office/powerpoint/2010/main" val="67148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A7D926-B298-6830-885B-70FEA34BC6A0}"/>
              </a:ext>
            </a:extLst>
          </p:cNvPr>
          <p:cNvSpPr>
            <a:spLocks noGrp="1"/>
          </p:cNvSpPr>
          <p:nvPr>
            <p:ph type="title"/>
          </p:nvPr>
        </p:nvSpPr>
        <p:spPr/>
        <p:txBody>
          <a:bodyPr/>
          <a:lstStyle/>
          <a:p>
            <a:r>
              <a:rPr lang="en-US" dirty="0"/>
              <a:t>Addition of Chat button in Missed Call Activity</a:t>
            </a:r>
            <a:endParaRPr lang="de-DE" dirty="0"/>
          </a:p>
        </p:txBody>
      </p:sp>
      <p:sp>
        <p:nvSpPr>
          <p:cNvPr id="3" name="Inhaltsplatzhalter 2">
            <a:extLst>
              <a:ext uri="{FF2B5EF4-FFF2-40B4-BE49-F238E27FC236}">
                <a16:creationId xmlns:a16="http://schemas.microsoft.com/office/drawing/2014/main" id="{B0A1ED5E-E6A0-63A2-B868-1905B5100128}"/>
              </a:ext>
            </a:extLst>
          </p:cNvPr>
          <p:cNvSpPr>
            <a:spLocks noGrp="1"/>
          </p:cNvSpPr>
          <p:nvPr>
            <p:ph idx="1"/>
          </p:nvPr>
        </p:nvSpPr>
        <p:spPr/>
        <p:txBody>
          <a:bodyPr/>
          <a:lstStyle/>
          <a:p>
            <a:r>
              <a:rPr lang="de-DE" dirty="0"/>
              <a:t>Zusätzliche Schaltfläche "Chat" bei einem verpassten Teams-Anruf</a:t>
            </a:r>
          </a:p>
          <a:p>
            <a:r>
              <a:rPr lang="de-DE" dirty="0"/>
              <a:t>Keine Einstellungsoptionen</a:t>
            </a:r>
          </a:p>
          <a:p>
            <a:r>
              <a:rPr lang="de-DE" dirty="0"/>
              <a:t>Rollout ab November </a:t>
            </a:r>
          </a:p>
        </p:txBody>
      </p:sp>
    </p:spTree>
    <p:extLst>
      <p:ext uri="{BB962C8B-B14F-4D97-AF65-F5344CB8AC3E}">
        <p14:creationId xmlns:p14="http://schemas.microsoft.com/office/powerpoint/2010/main" val="17846275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1204864" cy="5032375"/>
          </a:xfrm>
        </p:spPr>
        <p:txBody>
          <a:bodyPr>
            <a:normAutofit/>
          </a:bodyPr>
          <a:lstStyle/>
          <a:p>
            <a:r>
              <a:rPr lang="en-US" dirty="0"/>
              <a:t>New Microsoft Teams rollout schedule, new controls, and direct deployment</a:t>
            </a:r>
          </a:p>
          <a:p>
            <a:r>
              <a:rPr lang="en-US" dirty="0"/>
              <a:t>Addition of Chat button in Missed Call Activity</a:t>
            </a:r>
          </a:p>
          <a:p>
            <a:r>
              <a:rPr lang="en-US" dirty="0"/>
              <a:t>New Call Shortcuts in New Teams</a:t>
            </a:r>
          </a:p>
          <a:p>
            <a:r>
              <a:rPr lang="de-DE" dirty="0"/>
              <a:t>Engagement Information in Teams </a:t>
            </a:r>
            <a:r>
              <a:rPr lang="de-DE" dirty="0" err="1"/>
              <a:t>Attendance</a:t>
            </a:r>
            <a:r>
              <a:rPr lang="de-DE" dirty="0"/>
              <a:t> Report (Premium)</a:t>
            </a:r>
          </a:p>
          <a:p>
            <a:r>
              <a:rPr lang="en-US" dirty="0"/>
              <a:t>Emojis, GIFs and Stickers Unified in One Picker</a:t>
            </a:r>
          </a:p>
          <a:p>
            <a:r>
              <a:rPr lang="en-US" dirty="0"/>
              <a:t>Loop components in Channels and Loop Embed Mode in Teams</a:t>
            </a:r>
          </a:p>
          <a:p>
            <a:r>
              <a:rPr lang="de-DE" dirty="0"/>
              <a:t>Intelligent </a:t>
            </a:r>
            <a:r>
              <a:rPr lang="de-DE" dirty="0" err="1"/>
              <a:t>Recap</a:t>
            </a:r>
            <a:r>
              <a:rPr lang="de-DE" dirty="0"/>
              <a:t> Support for Additional </a:t>
            </a:r>
            <a:r>
              <a:rPr lang="de-DE" dirty="0" err="1"/>
              <a:t>Languages</a:t>
            </a:r>
            <a:r>
              <a:rPr lang="de-DE" dirty="0"/>
              <a:t> (Premium)</a:t>
            </a:r>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3159252"/>
            <a:ext cx="10515600" cy="539496"/>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4560028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6E92F7-E82B-5E0F-DD08-269B216023C6}"/>
              </a:ext>
            </a:extLst>
          </p:cNvPr>
          <p:cNvSpPr>
            <a:spLocks noGrp="1"/>
          </p:cNvSpPr>
          <p:nvPr>
            <p:ph type="title"/>
          </p:nvPr>
        </p:nvSpPr>
        <p:spPr/>
        <p:txBody>
          <a:bodyPr/>
          <a:lstStyle/>
          <a:p>
            <a:r>
              <a:rPr lang="en-US" dirty="0"/>
              <a:t>New Call Shortcuts in New Teams</a:t>
            </a:r>
            <a:endParaRPr lang="de-DE" dirty="0"/>
          </a:p>
        </p:txBody>
      </p:sp>
      <p:sp>
        <p:nvSpPr>
          <p:cNvPr id="3" name="Inhaltsplatzhalter 2">
            <a:extLst>
              <a:ext uri="{FF2B5EF4-FFF2-40B4-BE49-F238E27FC236}">
                <a16:creationId xmlns:a16="http://schemas.microsoft.com/office/drawing/2014/main" id="{E39E24DF-BE42-72DD-D13C-D25071A45F3E}"/>
              </a:ext>
            </a:extLst>
          </p:cNvPr>
          <p:cNvSpPr>
            <a:spLocks noGrp="1"/>
          </p:cNvSpPr>
          <p:nvPr>
            <p:ph idx="1"/>
          </p:nvPr>
        </p:nvSpPr>
        <p:spPr/>
        <p:txBody>
          <a:bodyPr/>
          <a:lstStyle/>
          <a:p>
            <a:r>
              <a:rPr lang="en-US" dirty="0"/>
              <a:t>Windows</a:t>
            </a:r>
          </a:p>
          <a:p>
            <a:pPr lvl="1"/>
            <a:r>
              <a:rPr lang="en-US" dirty="0"/>
              <a:t>Alt + Shift + A to initiate audio calls</a:t>
            </a:r>
          </a:p>
          <a:p>
            <a:pPr lvl="1"/>
            <a:r>
              <a:rPr lang="en-US" dirty="0"/>
              <a:t>Alt + Shift + V for video calls. </a:t>
            </a:r>
          </a:p>
          <a:p>
            <a:r>
              <a:rPr lang="en-US" dirty="0" err="1"/>
              <a:t>MacOs</a:t>
            </a:r>
            <a:r>
              <a:rPr lang="en-US" dirty="0"/>
              <a:t> </a:t>
            </a:r>
          </a:p>
          <a:p>
            <a:pPr lvl="1"/>
            <a:r>
              <a:rPr lang="en-US" dirty="0"/>
              <a:t>Option + Shift + A to initiate audio calls</a:t>
            </a:r>
          </a:p>
          <a:p>
            <a:pPr lvl="1"/>
            <a:r>
              <a:rPr lang="en-US" dirty="0"/>
              <a:t>Option + Shift + V for video calls.</a:t>
            </a:r>
            <a:endParaRPr lang="de-DE" dirty="0"/>
          </a:p>
        </p:txBody>
      </p:sp>
    </p:spTree>
    <p:extLst>
      <p:ext uri="{BB962C8B-B14F-4D97-AF65-F5344CB8AC3E}">
        <p14:creationId xmlns:p14="http://schemas.microsoft.com/office/powerpoint/2010/main" val="37162880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1204864" cy="5032375"/>
          </a:xfrm>
        </p:spPr>
        <p:txBody>
          <a:bodyPr>
            <a:normAutofit/>
          </a:bodyPr>
          <a:lstStyle/>
          <a:p>
            <a:r>
              <a:rPr lang="en-US" dirty="0"/>
              <a:t>New Microsoft Teams rollout schedule, new controls, and direct deployment</a:t>
            </a:r>
          </a:p>
          <a:p>
            <a:r>
              <a:rPr lang="en-US" dirty="0"/>
              <a:t>Addition of Chat button in Missed Call Activity</a:t>
            </a:r>
          </a:p>
          <a:p>
            <a:r>
              <a:rPr lang="en-US" dirty="0"/>
              <a:t>New Call Shortcuts in New Teams</a:t>
            </a:r>
          </a:p>
          <a:p>
            <a:r>
              <a:rPr lang="de-DE" dirty="0"/>
              <a:t>Engagement Information in Teams </a:t>
            </a:r>
            <a:r>
              <a:rPr lang="de-DE" dirty="0" err="1"/>
              <a:t>Attendance</a:t>
            </a:r>
            <a:r>
              <a:rPr lang="de-DE" dirty="0"/>
              <a:t> Report (Premium)</a:t>
            </a:r>
          </a:p>
          <a:p>
            <a:r>
              <a:rPr lang="en-US" dirty="0"/>
              <a:t>Emojis, GIFs and Stickers Unified in One Picker</a:t>
            </a:r>
          </a:p>
          <a:p>
            <a:r>
              <a:rPr lang="en-US" dirty="0"/>
              <a:t>Loop components in Channels and Loop Embed Mode in Teams</a:t>
            </a:r>
          </a:p>
          <a:p>
            <a:r>
              <a:rPr lang="de-DE" dirty="0"/>
              <a:t>Intelligent </a:t>
            </a:r>
            <a:r>
              <a:rPr lang="de-DE" dirty="0" err="1"/>
              <a:t>Recap</a:t>
            </a:r>
            <a:r>
              <a:rPr lang="de-DE" dirty="0"/>
              <a:t> Support for Additional </a:t>
            </a:r>
            <a:r>
              <a:rPr lang="de-DE" dirty="0" err="1"/>
              <a:t>Languages</a:t>
            </a:r>
            <a:r>
              <a:rPr lang="de-DE" dirty="0"/>
              <a:t> (Premium)</a:t>
            </a:r>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3698748"/>
            <a:ext cx="10515600" cy="539496"/>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16668440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C56AED-4985-C750-1F3A-78C1C47C7FEC}"/>
              </a:ext>
            </a:extLst>
          </p:cNvPr>
          <p:cNvSpPr>
            <a:spLocks noGrp="1"/>
          </p:cNvSpPr>
          <p:nvPr>
            <p:ph type="title"/>
          </p:nvPr>
        </p:nvSpPr>
        <p:spPr/>
        <p:txBody>
          <a:bodyPr/>
          <a:lstStyle/>
          <a:p>
            <a:r>
              <a:rPr lang="de-DE" dirty="0"/>
              <a:t>Engagement Information in Teams </a:t>
            </a:r>
            <a:r>
              <a:rPr lang="de-DE" dirty="0" err="1"/>
              <a:t>Attendance</a:t>
            </a:r>
            <a:r>
              <a:rPr lang="de-DE" dirty="0"/>
              <a:t> Report (Premium)</a:t>
            </a:r>
          </a:p>
        </p:txBody>
      </p:sp>
      <p:sp>
        <p:nvSpPr>
          <p:cNvPr id="5" name="Textfeld 4">
            <a:extLst>
              <a:ext uri="{FF2B5EF4-FFF2-40B4-BE49-F238E27FC236}">
                <a16:creationId xmlns:a16="http://schemas.microsoft.com/office/drawing/2014/main" id="{6E9B5E34-0BF9-D9FB-709D-A8A381461F0F}"/>
              </a:ext>
            </a:extLst>
          </p:cNvPr>
          <p:cNvSpPr txBox="1"/>
          <p:nvPr/>
        </p:nvSpPr>
        <p:spPr>
          <a:xfrm>
            <a:off x="729641" y="6176963"/>
            <a:ext cx="6093912" cy="369332"/>
          </a:xfrm>
          <a:prstGeom prst="rect">
            <a:avLst/>
          </a:prstGeom>
          <a:noFill/>
        </p:spPr>
        <p:txBody>
          <a:bodyPr wrap="square">
            <a:spAutoFit/>
          </a:bodyPr>
          <a:lstStyle/>
          <a:p>
            <a:r>
              <a:rPr lang="de-DE" dirty="0">
                <a:latin typeface="Aptos" panose="020B0004020202020204" pitchFamily="34" charset="0"/>
                <a:hlinkClick r:id="rId2"/>
              </a:rPr>
              <a:t>Teams Einstellungen- und Richtlinien</a:t>
            </a:r>
            <a:endParaRPr lang="de-DE" dirty="0">
              <a:latin typeface="Aptos" panose="020B0004020202020204" pitchFamily="34" charset="0"/>
            </a:endParaRPr>
          </a:p>
        </p:txBody>
      </p:sp>
      <p:pic>
        <p:nvPicPr>
          <p:cNvPr id="6146" name="Picture 2">
            <a:extLst>
              <a:ext uri="{FF2B5EF4-FFF2-40B4-BE49-F238E27FC236}">
                <a16:creationId xmlns:a16="http://schemas.microsoft.com/office/drawing/2014/main" id="{E6D9661D-DA30-99FA-BAE2-953D554CA6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5792" y="1742480"/>
            <a:ext cx="7820416" cy="43826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6372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C56AED-4985-C750-1F3A-78C1C47C7FEC}"/>
              </a:ext>
            </a:extLst>
          </p:cNvPr>
          <p:cNvSpPr>
            <a:spLocks noGrp="1"/>
          </p:cNvSpPr>
          <p:nvPr>
            <p:ph type="title"/>
          </p:nvPr>
        </p:nvSpPr>
        <p:spPr/>
        <p:txBody>
          <a:bodyPr/>
          <a:lstStyle/>
          <a:p>
            <a:r>
              <a:rPr lang="de-DE" dirty="0"/>
              <a:t>Engagement Information in Teams </a:t>
            </a:r>
            <a:r>
              <a:rPr lang="de-DE" dirty="0" err="1"/>
              <a:t>Attendance</a:t>
            </a:r>
            <a:r>
              <a:rPr lang="de-DE" dirty="0"/>
              <a:t> Report (Premium)</a:t>
            </a:r>
          </a:p>
        </p:txBody>
      </p:sp>
      <p:sp>
        <p:nvSpPr>
          <p:cNvPr id="5" name="Textfeld 4">
            <a:extLst>
              <a:ext uri="{FF2B5EF4-FFF2-40B4-BE49-F238E27FC236}">
                <a16:creationId xmlns:a16="http://schemas.microsoft.com/office/drawing/2014/main" id="{6E9B5E34-0BF9-D9FB-709D-A8A381461F0F}"/>
              </a:ext>
            </a:extLst>
          </p:cNvPr>
          <p:cNvSpPr txBox="1"/>
          <p:nvPr/>
        </p:nvSpPr>
        <p:spPr>
          <a:xfrm>
            <a:off x="729641" y="6176963"/>
            <a:ext cx="6093912" cy="369332"/>
          </a:xfrm>
          <a:prstGeom prst="rect">
            <a:avLst/>
          </a:prstGeom>
          <a:noFill/>
        </p:spPr>
        <p:txBody>
          <a:bodyPr wrap="square">
            <a:spAutoFit/>
          </a:bodyPr>
          <a:lstStyle/>
          <a:p>
            <a:r>
              <a:rPr lang="de-DE" dirty="0">
                <a:latin typeface="Aptos" panose="020B0004020202020204" pitchFamily="34" charset="0"/>
                <a:hlinkClick r:id="rId2"/>
              </a:rPr>
              <a:t>Teams Einstellungen- und Richtlinien</a:t>
            </a:r>
            <a:endParaRPr lang="de-DE" dirty="0">
              <a:latin typeface="Aptos" panose="020B0004020202020204" pitchFamily="34" charset="0"/>
            </a:endParaRPr>
          </a:p>
        </p:txBody>
      </p:sp>
      <p:pic>
        <p:nvPicPr>
          <p:cNvPr id="6146" name="Picture 2">
            <a:extLst>
              <a:ext uri="{FF2B5EF4-FFF2-40B4-BE49-F238E27FC236}">
                <a16:creationId xmlns:a16="http://schemas.microsoft.com/office/drawing/2014/main" id="{E6D9661D-DA30-99FA-BAE2-953D554CA6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2185792" y="1744381"/>
            <a:ext cx="7820416" cy="43788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19947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1204864" cy="5032375"/>
          </a:xfrm>
        </p:spPr>
        <p:txBody>
          <a:bodyPr>
            <a:normAutofit/>
          </a:bodyPr>
          <a:lstStyle/>
          <a:p>
            <a:r>
              <a:rPr lang="en-US" dirty="0"/>
              <a:t>New Microsoft Teams rollout schedule, new controls, and direct deployment</a:t>
            </a:r>
          </a:p>
          <a:p>
            <a:r>
              <a:rPr lang="en-US" dirty="0"/>
              <a:t>Addition of Chat button in Missed Call Activity</a:t>
            </a:r>
          </a:p>
          <a:p>
            <a:r>
              <a:rPr lang="en-US" dirty="0"/>
              <a:t>New Call Shortcuts in New Teams</a:t>
            </a:r>
          </a:p>
          <a:p>
            <a:r>
              <a:rPr lang="de-DE" dirty="0"/>
              <a:t>Engagement Information in Teams </a:t>
            </a:r>
            <a:r>
              <a:rPr lang="de-DE" dirty="0" err="1"/>
              <a:t>Attendance</a:t>
            </a:r>
            <a:r>
              <a:rPr lang="de-DE" dirty="0"/>
              <a:t> Report (Premium)</a:t>
            </a:r>
          </a:p>
          <a:p>
            <a:r>
              <a:rPr lang="en-US" dirty="0"/>
              <a:t>Emojis, GIFs and Stickers Unified in One Picker</a:t>
            </a:r>
          </a:p>
          <a:p>
            <a:r>
              <a:rPr lang="en-US" dirty="0"/>
              <a:t>Loop components in Channels and Loop Embed Mode in Teams</a:t>
            </a:r>
          </a:p>
          <a:p>
            <a:r>
              <a:rPr lang="de-DE" dirty="0"/>
              <a:t>Intelligent </a:t>
            </a:r>
            <a:r>
              <a:rPr lang="de-DE" dirty="0" err="1"/>
              <a:t>Recap</a:t>
            </a:r>
            <a:r>
              <a:rPr lang="de-DE" dirty="0"/>
              <a:t> Support for Additional </a:t>
            </a:r>
            <a:r>
              <a:rPr lang="de-DE" dirty="0" err="1"/>
              <a:t>Languages</a:t>
            </a:r>
            <a:r>
              <a:rPr lang="de-DE" dirty="0"/>
              <a:t> (Premium)</a:t>
            </a:r>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4219956"/>
            <a:ext cx="10515600" cy="539496"/>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13651517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7F7A1D-5D7D-FF1F-4DD4-0C8C2713468E}"/>
              </a:ext>
            </a:extLst>
          </p:cNvPr>
          <p:cNvSpPr>
            <a:spLocks noGrp="1"/>
          </p:cNvSpPr>
          <p:nvPr>
            <p:ph type="title"/>
          </p:nvPr>
        </p:nvSpPr>
        <p:spPr/>
        <p:txBody>
          <a:bodyPr/>
          <a:lstStyle/>
          <a:p>
            <a:r>
              <a:rPr lang="en-US" dirty="0"/>
              <a:t>Emojis, GIFs and Stickers Unified in One Picker</a:t>
            </a:r>
            <a:endParaRPr lang="de-DE" dirty="0"/>
          </a:p>
        </p:txBody>
      </p:sp>
      <p:pic>
        <p:nvPicPr>
          <p:cNvPr id="4" name="Grafik 3">
            <a:extLst>
              <a:ext uri="{FF2B5EF4-FFF2-40B4-BE49-F238E27FC236}">
                <a16:creationId xmlns:a16="http://schemas.microsoft.com/office/drawing/2014/main" id="{77012DCD-B808-FDA3-7BE4-98F129AE739F}"/>
              </a:ext>
            </a:extLst>
          </p:cNvPr>
          <p:cNvPicPr>
            <a:picLocks noChangeAspect="1"/>
          </p:cNvPicPr>
          <p:nvPr/>
        </p:nvPicPr>
        <p:blipFill>
          <a:blip r:embed="rId2"/>
          <a:stretch>
            <a:fillRect/>
          </a:stretch>
        </p:blipFill>
        <p:spPr>
          <a:xfrm>
            <a:off x="179581" y="1780464"/>
            <a:ext cx="2745493" cy="4257841"/>
          </a:xfrm>
          <a:prstGeom prst="rect">
            <a:avLst/>
          </a:prstGeom>
          <a:ln>
            <a:noFill/>
          </a:ln>
          <a:effectLst>
            <a:outerShdw blurRad="190500" algn="tl" rotWithShape="0">
              <a:srgbClr val="000000">
                <a:alpha val="70000"/>
              </a:srgbClr>
            </a:outerShdw>
          </a:effectLst>
        </p:spPr>
      </p:pic>
      <p:pic>
        <p:nvPicPr>
          <p:cNvPr id="5" name="Grafik 4">
            <a:extLst>
              <a:ext uri="{FF2B5EF4-FFF2-40B4-BE49-F238E27FC236}">
                <a16:creationId xmlns:a16="http://schemas.microsoft.com/office/drawing/2014/main" id="{3742C661-9697-95D6-495A-2C41FCEF4E4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228304" y="1780464"/>
            <a:ext cx="2745493" cy="4225169"/>
          </a:xfrm>
          <a:prstGeom prst="rect">
            <a:avLst/>
          </a:prstGeom>
          <a:ln>
            <a:noFill/>
          </a:ln>
          <a:effectLst>
            <a:outerShdw blurRad="190500" algn="tl" rotWithShape="0">
              <a:srgbClr val="000000">
                <a:alpha val="70000"/>
              </a:srgbClr>
            </a:outerShdw>
          </a:effectLst>
        </p:spPr>
      </p:pic>
      <p:pic>
        <p:nvPicPr>
          <p:cNvPr id="6" name="Grafik 5">
            <a:extLst>
              <a:ext uri="{FF2B5EF4-FFF2-40B4-BE49-F238E27FC236}">
                <a16:creationId xmlns:a16="http://schemas.microsoft.com/office/drawing/2014/main" id="{9EFBF646-632D-8B5B-DC46-4216D668129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277027" y="1780464"/>
            <a:ext cx="2728874" cy="4225169"/>
          </a:xfrm>
          <a:prstGeom prst="rect">
            <a:avLst/>
          </a:prstGeom>
          <a:ln>
            <a:noFill/>
          </a:ln>
          <a:effectLst>
            <a:outerShdw blurRad="190500" algn="tl" rotWithShape="0">
              <a:srgbClr val="000000">
                <a:alpha val="70000"/>
              </a:srgbClr>
            </a:outerShdw>
          </a:effectLst>
        </p:spPr>
      </p:pic>
      <p:pic>
        <p:nvPicPr>
          <p:cNvPr id="7" name="Grafik 6">
            <a:extLst>
              <a:ext uri="{FF2B5EF4-FFF2-40B4-BE49-F238E27FC236}">
                <a16:creationId xmlns:a16="http://schemas.microsoft.com/office/drawing/2014/main" id="{BB90FE5B-97AE-1067-EEB5-145AAB8510A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9309130" y="1799666"/>
            <a:ext cx="2728874" cy="421943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957427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1204864" cy="5032375"/>
          </a:xfrm>
        </p:spPr>
        <p:txBody>
          <a:bodyPr>
            <a:normAutofit/>
          </a:bodyPr>
          <a:lstStyle/>
          <a:p>
            <a:r>
              <a:rPr lang="en-US" dirty="0"/>
              <a:t>New Microsoft Teams rollout schedule, new controls, and direct deployment</a:t>
            </a:r>
          </a:p>
          <a:p>
            <a:r>
              <a:rPr lang="en-US" dirty="0"/>
              <a:t>Addition of Chat button in Missed Call Activity</a:t>
            </a:r>
          </a:p>
          <a:p>
            <a:r>
              <a:rPr lang="en-US" dirty="0"/>
              <a:t>New Call Shortcuts in New Teams</a:t>
            </a:r>
          </a:p>
          <a:p>
            <a:r>
              <a:rPr lang="de-DE" dirty="0"/>
              <a:t>Engagement Information in Teams </a:t>
            </a:r>
            <a:r>
              <a:rPr lang="de-DE" dirty="0" err="1"/>
              <a:t>Attendance</a:t>
            </a:r>
            <a:r>
              <a:rPr lang="de-DE" dirty="0"/>
              <a:t> Report (Premium)</a:t>
            </a:r>
          </a:p>
          <a:p>
            <a:r>
              <a:rPr lang="en-US" dirty="0"/>
              <a:t>Emojis, GIFs and Stickers Unified in One Picker</a:t>
            </a:r>
          </a:p>
          <a:p>
            <a:r>
              <a:rPr lang="en-US" dirty="0"/>
              <a:t>Loop components in Channels and Loop Embed Mode in Teams</a:t>
            </a:r>
          </a:p>
          <a:p>
            <a:r>
              <a:rPr lang="de-DE" dirty="0"/>
              <a:t>Intelligent </a:t>
            </a:r>
            <a:r>
              <a:rPr lang="de-DE" dirty="0" err="1"/>
              <a:t>Recap</a:t>
            </a:r>
            <a:r>
              <a:rPr lang="de-DE" dirty="0"/>
              <a:t> Support for Additional </a:t>
            </a:r>
            <a:r>
              <a:rPr lang="de-DE" dirty="0" err="1"/>
              <a:t>Languages</a:t>
            </a:r>
            <a:r>
              <a:rPr lang="de-DE" dirty="0"/>
              <a:t> (Premium)</a:t>
            </a:r>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4713732"/>
            <a:ext cx="10515600" cy="539496"/>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23453731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BC6F39-39BE-5CBE-3253-AD50C56296D9}"/>
              </a:ext>
            </a:extLst>
          </p:cNvPr>
          <p:cNvSpPr>
            <a:spLocks noGrp="1"/>
          </p:cNvSpPr>
          <p:nvPr>
            <p:ph type="title"/>
          </p:nvPr>
        </p:nvSpPr>
        <p:spPr/>
        <p:txBody>
          <a:bodyPr/>
          <a:lstStyle/>
          <a:p>
            <a:r>
              <a:rPr lang="en-US" dirty="0"/>
              <a:t>Loop components in Channels and Loop Embed Mode in Teams</a:t>
            </a:r>
            <a:endParaRPr lang="de-DE" dirty="0"/>
          </a:p>
        </p:txBody>
      </p:sp>
      <p:sp>
        <p:nvSpPr>
          <p:cNvPr id="3" name="Inhaltsplatzhalter 2">
            <a:extLst>
              <a:ext uri="{FF2B5EF4-FFF2-40B4-BE49-F238E27FC236}">
                <a16:creationId xmlns:a16="http://schemas.microsoft.com/office/drawing/2014/main" id="{B503C17A-AFE5-DBDC-0647-30AF9B7C6DB7}"/>
              </a:ext>
            </a:extLst>
          </p:cNvPr>
          <p:cNvSpPr>
            <a:spLocks noGrp="1"/>
          </p:cNvSpPr>
          <p:nvPr>
            <p:ph idx="1"/>
          </p:nvPr>
        </p:nvSpPr>
        <p:spPr/>
        <p:txBody>
          <a:bodyPr/>
          <a:lstStyle/>
          <a:p>
            <a:r>
              <a:rPr lang="de-DE" dirty="0"/>
              <a:t>Loop in Channels ist verfügbar für alle Kanaltypen</a:t>
            </a:r>
          </a:p>
          <a:p>
            <a:pPr lvl="1"/>
            <a:r>
              <a:rPr lang="de-DE" dirty="0"/>
              <a:t>Standard, Privat und Geteilt</a:t>
            </a:r>
          </a:p>
          <a:p>
            <a:r>
              <a:rPr lang="de-DE" dirty="0"/>
              <a:t>Copy &amp; Paste zwischen Kanälen, Chats, Outlook E-Mails und anderen unterstützten Microsoft 365 Apps</a:t>
            </a:r>
          </a:p>
          <a:p>
            <a:r>
              <a:rPr lang="de-DE" dirty="0"/>
              <a:t>Erstellung von Loop-Komponenten</a:t>
            </a:r>
          </a:p>
          <a:p>
            <a:pPr lvl="1"/>
            <a:r>
              <a:rPr lang="de-DE" dirty="0"/>
              <a:t>Desktop oder Web</a:t>
            </a:r>
          </a:p>
          <a:p>
            <a:r>
              <a:rPr lang="de-DE" dirty="0"/>
              <a:t>Unterstützung</a:t>
            </a:r>
          </a:p>
          <a:p>
            <a:pPr lvl="1"/>
            <a:r>
              <a:rPr lang="de-DE" dirty="0"/>
              <a:t>Ansicht in iOS und iPadOS</a:t>
            </a:r>
          </a:p>
          <a:p>
            <a:pPr lvl="1"/>
            <a:r>
              <a:rPr lang="de-DE" dirty="0"/>
              <a:t>Android </a:t>
            </a:r>
            <a:r>
              <a:rPr lang="de-DE" dirty="0">
                <a:sym typeface="Wingdings" panose="05000000000000000000" pitchFamily="2" charset="2"/>
              </a:rPr>
              <a:t> Link zur Loop-Webseite</a:t>
            </a:r>
            <a:endParaRPr lang="de-DE" dirty="0"/>
          </a:p>
        </p:txBody>
      </p:sp>
    </p:spTree>
    <p:extLst>
      <p:ext uri="{BB962C8B-B14F-4D97-AF65-F5344CB8AC3E}">
        <p14:creationId xmlns:p14="http://schemas.microsoft.com/office/powerpoint/2010/main" val="1321346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4">
            <a:extLst>
              <a:ext uri="{FF2B5EF4-FFF2-40B4-BE49-F238E27FC236}">
                <a16:creationId xmlns:a16="http://schemas.microsoft.com/office/drawing/2014/main" id="{975DA8F4-571A-B180-DCD8-5F4B02C2D3D3}"/>
              </a:ext>
            </a:extLst>
          </p:cNvPr>
          <p:cNvPicPr>
            <a:picLocks noChangeAspect="1"/>
          </p:cNvPicPr>
          <p:nvPr/>
        </p:nvPicPr>
        <p:blipFill>
          <a:blip r:embed="rId3"/>
          <a:stretch>
            <a:fillRect/>
          </a:stretch>
        </p:blipFill>
        <p:spPr>
          <a:xfrm>
            <a:off x="908353" y="2436742"/>
            <a:ext cx="10369248" cy="1736563"/>
          </a:xfrm>
          <a:prstGeom prst="rect">
            <a:avLst/>
          </a:prstGeom>
        </p:spPr>
      </p:pic>
      <p:sp>
        <p:nvSpPr>
          <p:cNvPr id="2" name="Textfeld 1">
            <a:extLst>
              <a:ext uri="{FF2B5EF4-FFF2-40B4-BE49-F238E27FC236}">
                <a16:creationId xmlns:a16="http://schemas.microsoft.com/office/drawing/2014/main" id="{E32F3E57-A399-C2A7-167C-43A640D9E55D}"/>
              </a:ext>
            </a:extLst>
          </p:cNvPr>
          <p:cNvSpPr txBox="1"/>
          <p:nvPr/>
        </p:nvSpPr>
        <p:spPr>
          <a:xfrm>
            <a:off x="3048762" y="5768407"/>
            <a:ext cx="6094476" cy="523220"/>
          </a:xfrm>
          <a:prstGeom prst="rect">
            <a:avLst/>
          </a:prstGeom>
          <a:noFill/>
        </p:spPr>
        <p:txBody>
          <a:bodyPr wrap="square">
            <a:spAutoFit/>
          </a:bodyPr>
          <a:lstStyle/>
          <a:p>
            <a:pPr algn="ctr"/>
            <a:r>
              <a:rPr lang="de-DE" sz="2800" dirty="0">
                <a:latin typeface="Aptos" panose="020B0004020202020204" pitchFamily="34" charset="0"/>
                <a:hlinkClick r:id="rId4"/>
              </a:rPr>
              <a:t>https://spirit21.com</a:t>
            </a:r>
            <a:r>
              <a:rPr lang="de-DE" sz="2800" dirty="0">
                <a:latin typeface="Aptos" panose="020B0004020202020204" pitchFamily="34" charset="0"/>
              </a:rPr>
              <a:t> </a:t>
            </a:r>
          </a:p>
        </p:txBody>
      </p:sp>
    </p:spTree>
    <p:extLst>
      <p:ext uri="{BB962C8B-B14F-4D97-AF65-F5344CB8AC3E}">
        <p14:creationId xmlns:p14="http://schemas.microsoft.com/office/powerpoint/2010/main" val="1545829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1204864" cy="5032375"/>
          </a:xfrm>
        </p:spPr>
        <p:txBody>
          <a:bodyPr>
            <a:normAutofit/>
          </a:bodyPr>
          <a:lstStyle/>
          <a:p>
            <a:r>
              <a:rPr lang="en-US" dirty="0"/>
              <a:t>New Microsoft Teams rollout schedule, new controls, and direct deployment</a:t>
            </a:r>
          </a:p>
          <a:p>
            <a:r>
              <a:rPr lang="en-US" dirty="0"/>
              <a:t>Addition of Chat button in Missed Call Activity</a:t>
            </a:r>
          </a:p>
          <a:p>
            <a:r>
              <a:rPr lang="en-US" dirty="0"/>
              <a:t>New Call Shortcuts in New Teams</a:t>
            </a:r>
          </a:p>
          <a:p>
            <a:r>
              <a:rPr lang="de-DE" dirty="0"/>
              <a:t>Engagement Information in Teams </a:t>
            </a:r>
            <a:r>
              <a:rPr lang="de-DE" dirty="0" err="1"/>
              <a:t>Attendance</a:t>
            </a:r>
            <a:r>
              <a:rPr lang="de-DE" dirty="0"/>
              <a:t> Report (Premium)</a:t>
            </a:r>
          </a:p>
          <a:p>
            <a:r>
              <a:rPr lang="en-US" dirty="0"/>
              <a:t>Emojis, GIFs and Stickers Unified in One Picker</a:t>
            </a:r>
          </a:p>
          <a:p>
            <a:r>
              <a:rPr lang="en-US" dirty="0"/>
              <a:t>Loop components in Channels and Loop Embed Mode in Teams</a:t>
            </a:r>
          </a:p>
          <a:p>
            <a:r>
              <a:rPr lang="de-DE" dirty="0"/>
              <a:t>Intelligent </a:t>
            </a:r>
            <a:r>
              <a:rPr lang="de-DE" dirty="0" err="1"/>
              <a:t>Recap</a:t>
            </a:r>
            <a:r>
              <a:rPr lang="de-DE" dirty="0"/>
              <a:t> Support for Additional </a:t>
            </a:r>
            <a:r>
              <a:rPr lang="de-DE" dirty="0" err="1"/>
              <a:t>Languages</a:t>
            </a:r>
            <a:r>
              <a:rPr lang="de-DE" dirty="0"/>
              <a:t> (Premium)</a:t>
            </a:r>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5225796"/>
            <a:ext cx="10515600" cy="539496"/>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31115843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0C0F88-9477-8548-A548-573AA223F331}"/>
              </a:ext>
            </a:extLst>
          </p:cNvPr>
          <p:cNvSpPr>
            <a:spLocks noGrp="1"/>
          </p:cNvSpPr>
          <p:nvPr>
            <p:ph type="title"/>
          </p:nvPr>
        </p:nvSpPr>
        <p:spPr/>
        <p:txBody>
          <a:bodyPr/>
          <a:lstStyle/>
          <a:p>
            <a:r>
              <a:rPr lang="de-DE" dirty="0"/>
              <a:t>Intelligent </a:t>
            </a:r>
            <a:r>
              <a:rPr lang="de-DE" dirty="0" err="1"/>
              <a:t>Recap</a:t>
            </a:r>
            <a:r>
              <a:rPr lang="de-DE" dirty="0"/>
              <a:t> Support for Additional </a:t>
            </a:r>
            <a:r>
              <a:rPr lang="de-DE" dirty="0" err="1"/>
              <a:t>Languages</a:t>
            </a:r>
            <a:r>
              <a:rPr lang="de-DE" dirty="0"/>
              <a:t> (Premium)</a:t>
            </a:r>
          </a:p>
        </p:txBody>
      </p:sp>
      <p:sp>
        <p:nvSpPr>
          <p:cNvPr id="4" name="Inhaltsplatzhalter 2">
            <a:extLst>
              <a:ext uri="{FF2B5EF4-FFF2-40B4-BE49-F238E27FC236}">
                <a16:creationId xmlns:a16="http://schemas.microsoft.com/office/drawing/2014/main" id="{3DDDDCCA-E741-D1A6-75B8-F0C6B176681D}"/>
              </a:ext>
            </a:extLst>
          </p:cNvPr>
          <p:cNvSpPr>
            <a:spLocks noGrp="1"/>
          </p:cNvSpPr>
          <p:nvPr>
            <p:ph idx="1"/>
          </p:nvPr>
        </p:nvSpPr>
        <p:spPr>
          <a:xfrm>
            <a:off x="838200" y="1825625"/>
            <a:ext cx="10515600" cy="4351338"/>
          </a:xfrm>
        </p:spPr>
        <p:txBody>
          <a:bodyPr/>
          <a:lstStyle/>
          <a:p>
            <a:r>
              <a:rPr lang="de-DE" dirty="0"/>
              <a:t>AI-Funktionen für die intelligente Besprechungs-zusammenfassung sind für folgende Sprachen verfügbar</a:t>
            </a:r>
          </a:p>
          <a:p>
            <a:pPr lvl="1"/>
            <a:r>
              <a:rPr lang="en-US" dirty="0"/>
              <a:t>Chinese Simplified, French, German, Italian, Japanese, Spanish, and Portuguese</a:t>
            </a:r>
          </a:p>
          <a:p>
            <a:r>
              <a:rPr lang="en-US" dirty="0" err="1"/>
              <a:t>Voraussetzung</a:t>
            </a:r>
            <a:r>
              <a:rPr lang="en-US" dirty="0"/>
              <a:t>:</a:t>
            </a:r>
          </a:p>
          <a:p>
            <a:pPr lvl="1"/>
            <a:r>
              <a:rPr lang="en-US" dirty="0" err="1"/>
              <a:t>Aufzeichnung</a:t>
            </a:r>
            <a:r>
              <a:rPr lang="en-US" dirty="0"/>
              <a:t> und </a:t>
            </a:r>
            <a:r>
              <a:rPr lang="en-US" dirty="0" err="1"/>
              <a:t>Transkription</a:t>
            </a:r>
            <a:r>
              <a:rPr lang="en-US" dirty="0"/>
              <a:t> der </a:t>
            </a:r>
            <a:r>
              <a:rPr lang="en-US" dirty="0" err="1"/>
              <a:t>Besprechung</a:t>
            </a:r>
            <a:endParaRPr lang="en-US" dirty="0"/>
          </a:p>
          <a:p>
            <a:r>
              <a:rPr lang="en-US" dirty="0"/>
              <a:t>AI-</a:t>
            </a:r>
            <a:r>
              <a:rPr lang="en-US" dirty="0" err="1"/>
              <a:t>Notizen</a:t>
            </a:r>
            <a:r>
              <a:rPr lang="en-US" dirty="0"/>
              <a:t> und </a:t>
            </a:r>
            <a:r>
              <a:rPr lang="en-US" dirty="0" err="1"/>
              <a:t>Aufgaben</a:t>
            </a:r>
            <a:r>
              <a:rPr lang="en-US" dirty="0"/>
              <a:t> </a:t>
            </a:r>
            <a:r>
              <a:rPr lang="en-US" dirty="0" err="1"/>
              <a:t>werden</a:t>
            </a:r>
            <a:r>
              <a:rPr lang="en-US" dirty="0"/>
              <a:t> in der </a:t>
            </a:r>
            <a:r>
              <a:rPr lang="en-US" dirty="0" err="1"/>
              <a:t>Sprache</a:t>
            </a:r>
            <a:r>
              <a:rPr lang="en-US" dirty="0"/>
              <a:t> der </a:t>
            </a:r>
            <a:r>
              <a:rPr lang="en-US" dirty="0" err="1"/>
              <a:t>Besprechung</a:t>
            </a:r>
            <a:r>
              <a:rPr lang="en-US" dirty="0"/>
              <a:t> </a:t>
            </a:r>
            <a:r>
              <a:rPr lang="en-US" dirty="0" err="1"/>
              <a:t>bereitgestellt</a:t>
            </a:r>
            <a:endParaRPr lang="de-DE" dirty="0"/>
          </a:p>
        </p:txBody>
      </p:sp>
    </p:spTree>
    <p:extLst>
      <p:ext uri="{BB962C8B-B14F-4D97-AF65-F5344CB8AC3E}">
        <p14:creationId xmlns:p14="http://schemas.microsoft.com/office/powerpoint/2010/main" val="34490396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0C0F88-9477-8548-A548-573AA223F331}"/>
              </a:ext>
            </a:extLst>
          </p:cNvPr>
          <p:cNvSpPr>
            <a:spLocks noGrp="1"/>
          </p:cNvSpPr>
          <p:nvPr>
            <p:ph type="title"/>
          </p:nvPr>
        </p:nvSpPr>
        <p:spPr/>
        <p:txBody>
          <a:bodyPr/>
          <a:lstStyle/>
          <a:p>
            <a:r>
              <a:rPr lang="de-DE" dirty="0"/>
              <a:t>Intelligent </a:t>
            </a:r>
            <a:r>
              <a:rPr lang="de-DE" dirty="0" err="1"/>
              <a:t>Recap</a:t>
            </a:r>
            <a:r>
              <a:rPr lang="de-DE" dirty="0"/>
              <a:t> Support for Additional </a:t>
            </a:r>
            <a:r>
              <a:rPr lang="de-DE" dirty="0" err="1"/>
              <a:t>Languages</a:t>
            </a:r>
            <a:r>
              <a:rPr lang="de-DE" dirty="0"/>
              <a:t> (Premium)</a:t>
            </a:r>
          </a:p>
        </p:txBody>
      </p:sp>
      <p:pic>
        <p:nvPicPr>
          <p:cNvPr id="9218" name="Picture 2">
            <a:extLst>
              <a:ext uri="{FF2B5EF4-FFF2-40B4-BE49-F238E27FC236}">
                <a16:creationId xmlns:a16="http://schemas.microsoft.com/office/drawing/2014/main" id="{92D8097A-EAB5-3FD4-9FC1-6DC08DCD5D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55642" y="1690688"/>
            <a:ext cx="8280716" cy="46584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29300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1204864" cy="5032375"/>
          </a:xfrm>
        </p:spPr>
        <p:txBody>
          <a:bodyPr>
            <a:normAutofit/>
          </a:bodyPr>
          <a:lstStyle/>
          <a:p>
            <a:r>
              <a:rPr lang="en-US" dirty="0"/>
              <a:t>Set 'Out of Office' from Teams </a:t>
            </a:r>
            <a:r>
              <a:rPr lang="en-US"/>
              <a:t>Mobile Application</a:t>
            </a:r>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1825982"/>
            <a:ext cx="10515600" cy="524026"/>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1663945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1197E69-E233-0B46-4F95-EE12CC1A77D2}"/>
              </a:ext>
            </a:extLst>
          </p:cNvPr>
          <p:cNvSpPr>
            <a:spLocks noGrp="1"/>
          </p:cNvSpPr>
          <p:nvPr>
            <p:ph type="title"/>
          </p:nvPr>
        </p:nvSpPr>
        <p:spPr/>
        <p:txBody>
          <a:bodyPr/>
          <a:lstStyle/>
          <a:p>
            <a:r>
              <a:rPr lang="en-US" dirty="0"/>
              <a:t>Set 'Out of Office' from Teams Mobile Application</a:t>
            </a:r>
            <a:endParaRPr lang="de-DE" dirty="0"/>
          </a:p>
        </p:txBody>
      </p:sp>
      <p:pic>
        <p:nvPicPr>
          <p:cNvPr id="4" name="Grafik 3">
            <a:extLst>
              <a:ext uri="{FF2B5EF4-FFF2-40B4-BE49-F238E27FC236}">
                <a16:creationId xmlns:a16="http://schemas.microsoft.com/office/drawing/2014/main" id="{C642694B-2B18-BF8D-2F85-E0CBD15FEA05}"/>
              </a:ext>
            </a:extLst>
          </p:cNvPr>
          <p:cNvPicPr>
            <a:picLocks noChangeAspect="1"/>
          </p:cNvPicPr>
          <p:nvPr/>
        </p:nvPicPr>
        <p:blipFill>
          <a:blip r:embed="rId2"/>
          <a:stretch>
            <a:fillRect/>
          </a:stretch>
        </p:blipFill>
        <p:spPr>
          <a:xfrm>
            <a:off x="2680352" y="1929007"/>
            <a:ext cx="6831295" cy="4257707"/>
          </a:xfrm>
          <a:prstGeom prst="rect">
            <a:avLst/>
          </a:prstGeom>
        </p:spPr>
      </p:pic>
      <p:sp>
        <p:nvSpPr>
          <p:cNvPr id="5" name="Rechteck: eine Ecke abgeschnitten 4">
            <a:extLst>
              <a:ext uri="{FF2B5EF4-FFF2-40B4-BE49-F238E27FC236}">
                <a16:creationId xmlns:a16="http://schemas.microsoft.com/office/drawing/2014/main" id="{25904851-8CF3-DBB5-D8D8-E205C39A75E8}"/>
              </a:ext>
            </a:extLst>
          </p:cNvPr>
          <p:cNvSpPr/>
          <p:nvPr/>
        </p:nvSpPr>
        <p:spPr>
          <a:xfrm>
            <a:off x="9344417" y="4233797"/>
            <a:ext cx="2736110" cy="1325563"/>
          </a:xfrm>
          <a:prstGeom prst="snip1Rect">
            <a:avLst/>
          </a:prstGeom>
          <a:noFill/>
          <a:ln w="2857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de-DE" sz="1600" dirty="0">
                <a:solidFill>
                  <a:schemeClr val="tx1"/>
                </a:solidFill>
                <a:latin typeface="Aptos" panose="020B0004020202020204" pitchFamily="34" charset="0"/>
              </a:rPr>
              <a:t>Nur-Text Eingabe</a:t>
            </a:r>
          </a:p>
          <a:p>
            <a:pPr algn="ctr"/>
            <a:r>
              <a:rPr lang="de-DE" sz="1600" dirty="0">
                <a:solidFill>
                  <a:schemeClr val="tx1"/>
                </a:solidFill>
                <a:latin typeface="Aptos" panose="020B0004020202020204" pitchFamily="34" charset="0"/>
              </a:rPr>
              <a:t>Kein HTML</a:t>
            </a:r>
          </a:p>
          <a:p>
            <a:pPr algn="ctr"/>
            <a:r>
              <a:rPr lang="de-DE" sz="1600" dirty="0">
                <a:solidFill>
                  <a:schemeClr val="tx1"/>
                </a:solidFill>
                <a:latin typeface="Aptos" panose="020B0004020202020204" pitchFamily="34" charset="0"/>
              </a:rPr>
              <a:t>Überschreibt Outlook OOF</a:t>
            </a:r>
          </a:p>
        </p:txBody>
      </p:sp>
      <p:pic>
        <p:nvPicPr>
          <p:cNvPr id="7" name="Grafik 6" descr="Ausrufezeichen mit einfarbiger Füllung">
            <a:extLst>
              <a:ext uri="{FF2B5EF4-FFF2-40B4-BE49-F238E27FC236}">
                <a16:creationId xmlns:a16="http://schemas.microsoft.com/office/drawing/2014/main" id="{3969CE17-17A6-A769-AE86-BECF751A8CA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513507" y="4501437"/>
            <a:ext cx="914400" cy="914400"/>
          </a:xfrm>
          <a:prstGeom prst="rect">
            <a:avLst/>
          </a:prstGeom>
        </p:spPr>
      </p:pic>
    </p:spTree>
    <p:extLst>
      <p:ext uri="{BB962C8B-B14F-4D97-AF65-F5344CB8AC3E}">
        <p14:creationId xmlns:p14="http://schemas.microsoft.com/office/powerpoint/2010/main" val="13452831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F3A15CBD-C746-44A3-A4F0-4898CE2F02E6}"/>
              </a:ext>
            </a:extLst>
          </p:cNvPr>
          <p:cNvSpPr>
            <a:spLocks noGrp="1"/>
          </p:cNvSpPr>
          <p:nvPr>
            <p:ph type="title"/>
          </p:nvPr>
        </p:nvSpPr>
        <p:spPr/>
        <p:txBody>
          <a:bodyPr>
            <a:normAutofit/>
          </a:bodyPr>
          <a:lstStyle/>
          <a:p>
            <a:r>
              <a:rPr lang="de-DE"/>
              <a:t>Neues in Microsoft Teams</a:t>
            </a:r>
            <a:br>
              <a:rPr lang="de-DE"/>
            </a:br>
            <a:r>
              <a:rPr lang="de-DE"/>
              <a:t>Ankündigungen &amp; Rollouts </a:t>
            </a:r>
            <a:br>
              <a:rPr lang="de-DE"/>
            </a:br>
            <a:r>
              <a:rPr lang="de-DE"/>
              <a:t>für Admins</a:t>
            </a:r>
          </a:p>
        </p:txBody>
      </p:sp>
      <p:sp>
        <p:nvSpPr>
          <p:cNvPr id="5" name="Textplatzhalter 4">
            <a:extLst>
              <a:ext uri="{FF2B5EF4-FFF2-40B4-BE49-F238E27FC236}">
                <a16:creationId xmlns:a16="http://schemas.microsoft.com/office/drawing/2014/main" id="{F3459BE7-1731-4733-A912-12977C68CFD6}"/>
              </a:ext>
            </a:extLst>
          </p:cNvPr>
          <p:cNvSpPr>
            <a:spLocks noGrp="1"/>
          </p:cNvSpPr>
          <p:nvPr>
            <p:ph type="body" idx="1"/>
          </p:nvPr>
        </p:nvSpPr>
        <p:spPr/>
        <p:txBody>
          <a:bodyPr/>
          <a:lstStyle/>
          <a:p>
            <a:r>
              <a:rPr lang="de-DE" dirty="0"/>
              <a:t>Meetup #27 </a:t>
            </a:r>
            <a:br>
              <a:rPr lang="de-DE" dirty="0"/>
            </a:br>
            <a:br>
              <a:rPr lang="de-DE" dirty="0"/>
            </a:br>
            <a:r>
              <a:rPr lang="de-DE" dirty="0"/>
              <a:t>Thomas Stensitzki</a:t>
            </a:r>
          </a:p>
        </p:txBody>
      </p:sp>
      <p:sp>
        <p:nvSpPr>
          <p:cNvPr id="2" name="Textfeld 1">
            <a:extLst>
              <a:ext uri="{FF2B5EF4-FFF2-40B4-BE49-F238E27FC236}">
                <a16:creationId xmlns:a16="http://schemas.microsoft.com/office/drawing/2014/main" id="{A0204B4B-AC00-4A91-B83C-FDA5915CC9E5}"/>
              </a:ext>
            </a:extLst>
          </p:cNvPr>
          <p:cNvSpPr txBox="1"/>
          <p:nvPr/>
        </p:nvSpPr>
        <p:spPr>
          <a:xfrm rot="20570296">
            <a:off x="6143557" y="3927744"/>
            <a:ext cx="5135671" cy="1323439"/>
          </a:xfrm>
          <a:prstGeom prst="rect">
            <a:avLst/>
          </a:prstGeom>
          <a:noFill/>
        </p:spPr>
        <p:txBody>
          <a:bodyPr wrap="square" rtlCol="0">
            <a:spAutoFit/>
          </a:bodyPr>
          <a:lstStyle/>
          <a:p>
            <a:pPr algn="ctr"/>
            <a:r>
              <a:rPr lang="en-US" sz="8000" b="1"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Aptos" panose="020B0004020202020204" pitchFamily="34" charset="0"/>
              </a:rPr>
              <a:t>Updates</a:t>
            </a:r>
          </a:p>
        </p:txBody>
      </p:sp>
      <p:pic>
        <p:nvPicPr>
          <p:cNvPr id="3" name="Grafik 2" descr="Ein Bild, das Symbol, Logo, Grafiken, Screenshot enthält.&#10;&#10;Automatisch generierte Beschreibung">
            <a:extLst>
              <a:ext uri="{FF2B5EF4-FFF2-40B4-BE49-F238E27FC236}">
                <a16:creationId xmlns:a16="http://schemas.microsoft.com/office/drawing/2014/main" id="{C61DC060-45E2-C7DD-1E04-4E20BAFB2F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089" y="0"/>
            <a:ext cx="2438400" cy="2438400"/>
          </a:xfrm>
          <a:prstGeom prst="rect">
            <a:avLst/>
          </a:prstGeom>
        </p:spPr>
      </p:pic>
    </p:spTree>
    <p:extLst>
      <p:ext uri="{BB962C8B-B14F-4D97-AF65-F5344CB8AC3E}">
        <p14:creationId xmlns:p14="http://schemas.microsoft.com/office/powerpoint/2010/main" val="196247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Microsoft Teams Rooms Pro Management Improved Search for rooms</a:t>
            </a:r>
          </a:p>
          <a:p>
            <a:r>
              <a:rPr lang="en-US" dirty="0"/>
              <a:t>Watermark support for recording playback (Premium) </a:t>
            </a:r>
            <a:r>
              <a:rPr lang="en-US" dirty="0">
                <a:sym typeface="Wingdings" panose="05000000000000000000" pitchFamily="2" charset="2"/>
              </a:rPr>
              <a:t> Ende Nov</a:t>
            </a:r>
          </a:p>
          <a:p>
            <a:r>
              <a:rPr lang="en-US" dirty="0">
                <a:sym typeface="Wingdings" panose="05000000000000000000" pitchFamily="2" charset="2"/>
              </a:rPr>
              <a:t>Front Row Enhancement: Active video speaker promotion for Teams Rooms on Windows</a:t>
            </a:r>
          </a:p>
          <a:p>
            <a:r>
              <a:rPr lang="en-US" dirty="0">
                <a:sym typeface="Wingdings" panose="05000000000000000000" pitchFamily="2" charset="2"/>
              </a:rPr>
              <a:t>Support Joining a Teams Live Event as Attendee for Teams Rooms on Windows</a:t>
            </a:r>
          </a:p>
          <a:p>
            <a:r>
              <a:rPr lang="en-US" dirty="0">
                <a:sym typeface="Wingdings" panose="05000000000000000000" pitchFamily="2" charset="2"/>
              </a:rPr>
              <a:t>macOS name change: Microsoft Teams to Microsoft Teams classic MDM Impact</a:t>
            </a:r>
          </a:p>
          <a:p>
            <a:r>
              <a:rPr lang="en-US" dirty="0"/>
              <a:t>Extended Real-time Telemetry Retention Up To Seven Days</a:t>
            </a:r>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1825624"/>
            <a:ext cx="10515600" cy="881000"/>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3637612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8DB6C1-23E6-ED5F-EE82-809596779B25}"/>
              </a:ext>
            </a:extLst>
          </p:cNvPr>
          <p:cNvSpPr>
            <a:spLocks noGrp="1"/>
          </p:cNvSpPr>
          <p:nvPr>
            <p:ph type="title"/>
          </p:nvPr>
        </p:nvSpPr>
        <p:spPr/>
        <p:txBody>
          <a:bodyPr/>
          <a:lstStyle/>
          <a:p>
            <a:r>
              <a:rPr lang="en-US" dirty="0"/>
              <a:t>Microsoft Teams Rooms Pro Management Improved Search for rooms</a:t>
            </a:r>
            <a:endParaRPr lang="de-DE" dirty="0"/>
          </a:p>
        </p:txBody>
      </p:sp>
      <p:pic>
        <p:nvPicPr>
          <p:cNvPr id="1026" name="Picture 2" descr="search and filters for rooms">
            <a:extLst>
              <a:ext uri="{FF2B5EF4-FFF2-40B4-BE49-F238E27FC236}">
                <a16:creationId xmlns:a16="http://schemas.microsoft.com/office/drawing/2014/main" id="{1E707FB8-1F61-439E-98E5-11D070D647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79320" y="1690688"/>
            <a:ext cx="8033359" cy="4187179"/>
          </a:xfrm>
          <a:prstGeom prst="rect">
            <a:avLst/>
          </a:prstGeom>
          <a:noFill/>
          <a:extLst>
            <a:ext uri="{909E8E84-426E-40DD-AFC4-6F175D3DCCD1}">
              <a14:hiddenFill xmlns:a14="http://schemas.microsoft.com/office/drawing/2010/main">
                <a:solidFill>
                  <a:srgbClr val="FFFFFF"/>
                </a:solidFill>
              </a14:hiddenFill>
            </a:ext>
          </a:extLst>
        </p:spPr>
      </p:pic>
      <p:sp>
        <p:nvSpPr>
          <p:cNvPr id="4" name="Textfeld 3">
            <a:extLst>
              <a:ext uri="{FF2B5EF4-FFF2-40B4-BE49-F238E27FC236}">
                <a16:creationId xmlns:a16="http://schemas.microsoft.com/office/drawing/2014/main" id="{8D785377-9608-B44E-3A78-4A4C1101B9B5}"/>
              </a:ext>
            </a:extLst>
          </p:cNvPr>
          <p:cNvSpPr txBox="1"/>
          <p:nvPr/>
        </p:nvSpPr>
        <p:spPr>
          <a:xfrm>
            <a:off x="838200" y="6299296"/>
            <a:ext cx="9282830" cy="369332"/>
          </a:xfrm>
          <a:prstGeom prst="rect">
            <a:avLst/>
          </a:prstGeom>
          <a:noFill/>
        </p:spPr>
        <p:txBody>
          <a:bodyPr wrap="square" rtlCol="0">
            <a:spAutoFit/>
          </a:bodyPr>
          <a:lstStyle/>
          <a:p>
            <a:r>
              <a:rPr lang="de-DE" dirty="0">
                <a:latin typeface="Aptos" panose="020B0004020202020204" pitchFamily="34" charset="0"/>
                <a:hlinkClick r:id="rId3"/>
              </a:rPr>
              <a:t>Teams Rooms Pro Management</a:t>
            </a:r>
            <a:r>
              <a:rPr lang="de-DE" dirty="0">
                <a:latin typeface="Aptos" panose="020B0004020202020204" pitchFamily="34" charset="0"/>
              </a:rPr>
              <a:t> - Dokumentation</a:t>
            </a:r>
          </a:p>
        </p:txBody>
      </p:sp>
      <p:sp>
        <p:nvSpPr>
          <p:cNvPr id="6" name="Textfeld 5">
            <a:extLst>
              <a:ext uri="{FF2B5EF4-FFF2-40B4-BE49-F238E27FC236}">
                <a16:creationId xmlns:a16="http://schemas.microsoft.com/office/drawing/2014/main" id="{5EE65999-F6D7-3033-7601-0BA8AF9CC78C}"/>
              </a:ext>
            </a:extLst>
          </p:cNvPr>
          <p:cNvSpPr txBox="1"/>
          <p:nvPr/>
        </p:nvSpPr>
        <p:spPr>
          <a:xfrm>
            <a:off x="838199" y="5929964"/>
            <a:ext cx="9274479" cy="369332"/>
          </a:xfrm>
          <a:prstGeom prst="rect">
            <a:avLst/>
          </a:prstGeom>
          <a:noFill/>
        </p:spPr>
        <p:txBody>
          <a:bodyPr wrap="square">
            <a:spAutoFit/>
          </a:bodyPr>
          <a:lstStyle/>
          <a:p>
            <a:r>
              <a:rPr lang="en-US" dirty="0">
                <a:latin typeface="Aptos" panose="020B0004020202020204" pitchFamily="34" charset="0"/>
                <a:hlinkClick r:id="rId4"/>
              </a:rPr>
              <a:t>https://portal.rooms.microsoft.com</a:t>
            </a:r>
            <a:r>
              <a:rPr lang="en-US" dirty="0">
                <a:latin typeface="Aptos" panose="020B0004020202020204" pitchFamily="34" charset="0"/>
              </a:rPr>
              <a:t> </a:t>
            </a:r>
            <a:r>
              <a:rPr lang="en-US" dirty="0">
                <a:latin typeface="Aptos" panose="020B0004020202020204" pitchFamily="34" charset="0"/>
                <a:sym typeface="Wingdings" panose="05000000000000000000" pitchFamily="2" charset="2"/>
              </a:rPr>
              <a:t> </a:t>
            </a:r>
            <a:r>
              <a:rPr lang="en-US" dirty="0" err="1">
                <a:latin typeface="Aptos" panose="020B0004020202020204" pitchFamily="34" charset="0"/>
                <a:sym typeface="Wingdings" panose="05000000000000000000" pitchFamily="2" charset="2"/>
              </a:rPr>
              <a:t>Mindestens</a:t>
            </a:r>
            <a:r>
              <a:rPr lang="en-US" dirty="0">
                <a:latin typeface="Aptos" panose="020B0004020202020204" pitchFamily="34" charset="0"/>
                <a:sym typeface="Wingdings" panose="05000000000000000000" pitchFamily="2" charset="2"/>
              </a:rPr>
              <a:t> </a:t>
            </a:r>
            <a:r>
              <a:rPr lang="en-US" dirty="0" err="1">
                <a:latin typeface="Aptos" panose="020B0004020202020204" pitchFamily="34" charset="0"/>
                <a:sym typeface="Wingdings" panose="05000000000000000000" pitchFamily="2" charset="2"/>
              </a:rPr>
              <a:t>eine</a:t>
            </a:r>
            <a:r>
              <a:rPr lang="en-US" dirty="0">
                <a:latin typeface="Aptos" panose="020B0004020202020204" pitchFamily="34" charset="0"/>
                <a:sym typeface="Wingdings" panose="05000000000000000000" pitchFamily="2" charset="2"/>
              </a:rPr>
              <a:t> Teams Rooms Pro </a:t>
            </a:r>
            <a:r>
              <a:rPr lang="en-US" dirty="0" err="1">
                <a:latin typeface="Aptos" panose="020B0004020202020204" pitchFamily="34" charset="0"/>
                <a:sym typeface="Wingdings" panose="05000000000000000000" pitchFamily="2" charset="2"/>
              </a:rPr>
              <a:t>Lizenz</a:t>
            </a:r>
            <a:endParaRPr lang="de-DE" dirty="0">
              <a:latin typeface="Aptos" panose="020B0004020202020204" pitchFamily="34" charset="0"/>
            </a:endParaRPr>
          </a:p>
        </p:txBody>
      </p:sp>
    </p:spTree>
    <p:extLst>
      <p:ext uri="{BB962C8B-B14F-4D97-AF65-F5344CB8AC3E}">
        <p14:creationId xmlns:p14="http://schemas.microsoft.com/office/powerpoint/2010/main" val="13171162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Microsoft Teams Rooms Pro Management Improved Search for rooms</a:t>
            </a:r>
          </a:p>
          <a:p>
            <a:r>
              <a:rPr lang="en-US" dirty="0"/>
              <a:t>Watermark support for recording playback (Premium) </a:t>
            </a:r>
            <a:r>
              <a:rPr lang="en-US" dirty="0">
                <a:sym typeface="Wingdings" panose="05000000000000000000" pitchFamily="2" charset="2"/>
              </a:rPr>
              <a:t> Ende Nov</a:t>
            </a:r>
          </a:p>
          <a:p>
            <a:r>
              <a:rPr lang="en-US" dirty="0">
                <a:sym typeface="Wingdings" panose="05000000000000000000" pitchFamily="2" charset="2"/>
              </a:rPr>
              <a:t>Front Row Enhancement: Active video speaker promotion for Teams Rooms on Windows</a:t>
            </a:r>
          </a:p>
          <a:p>
            <a:r>
              <a:rPr lang="en-US" dirty="0">
                <a:sym typeface="Wingdings" panose="05000000000000000000" pitchFamily="2" charset="2"/>
              </a:rPr>
              <a:t>Support Joining a Teams Live Event as Attendee for Teams Rooms on Windows</a:t>
            </a:r>
          </a:p>
          <a:p>
            <a:r>
              <a:rPr lang="en-US" dirty="0">
                <a:sym typeface="Wingdings" panose="05000000000000000000" pitchFamily="2" charset="2"/>
              </a:rPr>
              <a:t>macOS name change: Microsoft Teams to Microsoft Teams classic MDM Impact</a:t>
            </a:r>
          </a:p>
          <a:p>
            <a:r>
              <a:rPr lang="en-US" dirty="0"/>
              <a:t>Extended Real-time Telemetry Retention Up To Seven Days</a:t>
            </a:r>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2706624"/>
            <a:ext cx="10515600" cy="521208"/>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3797754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Microsoft Teams Rooms Pro Management Improved Search for rooms</a:t>
            </a:r>
          </a:p>
          <a:p>
            <a:r>
              <a:rPr lang="en-US" dirty="0"/>
              <a:t>Watermark support for recording playback (Premium) </a:t>
            </a:r>
            <a:r>
              <a:rPr lang="en-US" dirty="0">
                <a:sym typeface="Wingdings" panose="05000000000000000000" pitchFamily="2" charset="2"/>
              </a:rPr>
              <a:t> Ende Nov</a:t>
            </a:r>
          </a:p>
          <a:p>
            <a:r>
              <a:rPr lang="en-US" dirty="0">
                <a:sym typeface="Wingdings" panose="05000000000000000000" pitchFamily="2" charset="2"/>
              </a:rPr>
              <a:t>Front Row Enhancement: Active video speaker promotion for Teams Rooms on Windows</a:t>
            </a:r>
          </a:p>
          <a:p>
            <a:r>
              <a:rPr lang="en-US" dirty="0">
                <a:sym typeface="Wingdings" panose="05000000000000000000" pitchFamily="2" charset="2"/>
              </a:rPr>
              <a:t>Support Joining a Teams Live Event as Attendee for Teams Rooms on Windows</a:t>
            </a:r>
          </a:p>
          <a:p>
            <a:r>
              <a:rPr lang="en-US" dirty="0">
                <a:sym typeface="Wingdings" panose="05000000000000000000" pitchFamily="2" charset="2"/>
              </a:rPr>
              <a:t>macOS name change: Microsoft Teams to Microsoft Teams classic MDM Impact</a:t>
            </a:r>
          </a:p>
          <a:p>
            <a:r>
              <a:rPr lang="en-US" dirty="0"/>
              <a:t>Extended Real-time Telemetry Retention Up To Seven Days</a:t>
            </a:r>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3188080"/>
            <a:ext cx="10515600" cy="881000"/>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107209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Grafiken, Schrift, Grafikdesign, Logo enthält.&#10;&#10;Automatisch generierte Beschreibung">
            <a:extLst>
              <a:ext uri="{FF2B5EF4-FFF2-40B4-BE49-F238E27FC236}">
                <a16:creationId xmlns:a16="http://schemas.microsoft.com/office/drawing/2014/main" id="{401BDEF3-90E0-DBBA-9FF5-31659B075E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43614" y="1714136"/>
            <a:ext cx="9104772" cy="2018442"/>
          </a:xfrm>
          <a:prstGeom prst="rect">
            <a:avLst/>
          </a:prstGeom>
        </p:spPr>
      </p:pic>
      <p:pic>
        <p:nvPicPr>
          <p:cNvPr id="1026" name="Picture 2" descr="Werbegrafik für das Microsoft Teams Call Quality Dashboard der Firma ENow.">
            <a:hlinkClick r:id="rId3"/>
            <a:extLst>
              <a:ext uri="{FF2B5EF4-FFF2-40B4-BE49-F238E27FC236}">
                <a16:creationId xmlns:a16="http://schemas.microsoft.com/office/drawing/2014/main" id="{A56E732E-05A6-05FC-08CC-655BB585349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6803" y="4653327"/>
            <a:ext cx="1965961" cy="163830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8" name="Grafik 7" descr="Ein Bild, das Muster, Quadrat, Symmetrie, Kunst enthält.&#10;&#10;Automatisch generierte Beschreibung">
            <a:extLst>
              <a:ext uri="{FF2B5EF4-FFF2-40B4-BE49-F238E27FC236}">
                <a16:creationId xmlns:a16="http://schemas.microsoft.com/office/drawing/2014/main" id="{2EB55981-0768-CE03-F2D9-17DC21F5CED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29236" y="4653327"/>
            <a:ext cx="1638300" cy="1638300"/>
          </a:xfrm>
          <a:prstGeom prst="rect">
            <a:avLst/>
          </a:prstGeom>
        </p:spPr>
      </p:pic>
      <p:sp>
        <p:nvSpPr>
          <p:cNvPr id="2" name="Textfeld 1">
            <a:extLst>
              <a:ext uri="{FF2B5EF4-FFF2-40B4-BE49-F238E27FC236}">
                <a16:creationId xmlns:a16="http://schemas.microsoft.com/office/drawing/2014/main" id="{EC6809E7-B0BE-CA65-ACDC-5D372BBD27CD}"/>
              </a:ext>
            </a:extLst>
          </p:cNvPr>
          <p:cNvSpPr txBox="1"/>
          <p:nvPr/>
        </p:nvSpPr>
        <p:spPr>
          <a:xfrm>
            <a:off x="3048762" y="5768407"/>
            <a:ext cx="6094476" cy="523220"/>
          </a:xfrm>
          <a:prstGeom prst="rect">
            <a:avLst/>
          </a:prstGeom>
          <a:noFill/>
        </p:spPr>
        <p:txBody>
          <a:bodyPr wrap="square">
            <a:spAutoFit/>
          </a:bodyPr>
          <a:lstStyle/>
          <a:p>
            <a:pPr algn="ctr"/>
            <a:r>
              <a:rPr lang="de-DE" sz="2800" dirty="0">
                <a:latin typeface="Aptos" panose="020B0004020202020204" pitchFamily="34" charset="0"/>
                <a:hlinkClick r:id="rId6"/>
              </a:rPr>
              <a:t>https://www.enowsoftware.com</a:t>
            </a:r>
            <a:r>
              <a:rPr lang="de-DE" sz="2800" dirty="0">
                <a:latin typeface="Aptos" panose="020B0004020202020204" pitchFamily="34" charset="0"/>
              </a:rPr>
              <a:t> </a:t>
            </a:r>
          </a:p>
        </p:txBody>
      </p:sp>
    </p:spTree>
    <p:extLst>
      <p:ext uri="{BB962C8B-B14F-4D97-AF65-F5344CB8AC3E}">
        <p14:creationId xmlns:p14="http://schemas.microsoft.com/office/powerpoint/2010/main" val="980172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3E3C9C-491A-4B34-49D2-5725241CAB77}"/>
              </a:ext>
            </a:extLst>
          </p:cNvPr>
          <p:cNvSpPr>
            <a:spLocks noGrp="1"/>
          </p:cNvSpPr>
          <p:nvPr>
            <p:ph type="title"/>
          </p:nvPr>
        </p:nvSpPr>
        <p:spPr>
          <a:xfrm>
            <a:off x="838199" y="365125"/>
            <a:ext cx="10785953" cy="1325563"/>
          </a:xfrm>
        </p:spPr>
        <p:txBody>
          <a:bodyPr>
            <a:noAutofit/>
          </a:bodyPr>
          <a:lstStyle/>
          <a:p>
            <a:r>
              <a:rPr lang="en-US" sz="4000" dirty="0"/>
              <a:t>Front Row Enhancement: Active video speaker promotion for Teams Rooms on Windows</a:t>
            </a:r>
            <a:endParaRPr lang="de-DE" sz="4000" dirty="0"/>
          </a:p>
        </p:txBody>
      </p:sp>
      <p:pic>
        <p:nvPicPr>
          <p:cNvPr id="3074" name="Picture 2" descr="raised hands">
            <a:extLst>
              <a:ext uri="{FF2B5EF4-FFF2-40B4-BE49-F238E27FC236}">
                <a16:creationId xmlns:a16="http://schemas.microsoft.com/office/drawing/2014/main" id="{53106B50-8682-6EA9-4D5D-577426E07A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1978" y="1690688"/>
            <a:ext cx="10288044" cy="44085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59383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Microsoft Teams Rooms Pro Management Improved Search for rooms</a:t>
            </a:r>
          </a:p>
          <a:p>
            <a:r>
              <a:rPr lang="en-US" dirty="0"/>
              <a:t>Watermark support for recording playback (Premium) </a:t>
            </a:r>
            <a:r>
              <a:rPr lang="en-US" dirty="0">
                <a:sym typeface="Wingdings" panose="05000000000000000000" pitchFamily="2" charset="2"/>
              </a:rPr>
              <a:t> Ende Nov</a:t>
            </a:r>
          </a:p>
          <a:p>
            <a:r>
              <a:rPr lang="en-US" dirty="0">
                <a:sym typeface="Wingdings" panose="05000000000000000000" pitchFamily="2" charset="2"/>
              </a:rPr>
              <a:t>Front Row Enhancement: Active video speaker promotion for Teams Rooms on Windows</a:t>
            </a:r>
          </a:p>
          <a:p>
            <a:r>
              <a:rPr lang="en-US" dirty="0">
                <a:sym typeface="Wingdings" panose="05000000000000000000" pitchFamily="2" charset="2"/>
              </a:rPr>
              <a:t>Support Joining a Teams Live Event as Attendee for Teams Rooms on Windows</a:t>
            </a:r>
          </a:p>
          <a:p>
            <a:r>
              <a:rPr lang="en-US" dirty="0">
                <a:sym typeface="Wingdings" panose="05000000000000000000" pitchFamily="2" charset="2"/>
              </a:rPr>
              <a:t>macOS name change: Microsoft Teams to Microsoft Teams classic MDM Impact</a:t>
            </a:r>
          </a:p>
          <a:p>
            <a:r>
              <a:rPr lang="en-US" dirty="0"/>
              <a:t>Extended Real-time Telemetry Retention Up To Seven Days</a:t>
            </a:r>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4065904"/>
            <a:ext cx="10515600" cy="881000"/>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3015216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A52265-3DB5-A681-F96F-27320A35EB54}"/>
              </a:ext>
            </a:extLst>
          </p:cNvPr>
          <p:cNvSpPr>
            <a:spLocks noGrp="1"/>
          </p:cNvSpPr>
          <p:nvPr>
            <p:ph type="title"/>
          </p:nvPr>
        </p:nvSpPr>
        <p:spPr/>
        <p:txBody>
          <a:bodyPr/>
          <a:lstStyle/>
          <a:p>
            <a:r>
              <a:rPr lang="en-US" dirty="0"/>
              <a:t>Support Joining a Teams Live Event as Attendee for Teams Rooms on Windows</a:t>
            </a:r>
            <a:endParaRPr lang="de-DE" dirty="0"/>
          </a:p>
        </p:txBody>
      </p:sp>
      <p:sp>
        <p:nvSpPr>
          <p:cNvPr id="3" name="Inhaltsplatzhalter 2">
            <a:extLst>
              <a:ext uri="{FF2B5EF4-FFF2-40B4-BE49-F238E27FC236}">
                <a16:creationId xmlns:a16="http://schemas.microsoft.com/office/drawing/2014/main" id="{8706F04D-9E26-2AD6-47D7-4CC3B32EEABB}"/>
              </a:ext>
            </a:extLst>
          </p:cNvPr>
          <p:cNvSpPr>
            <a:spLocks noGrp="1"/>
          </p:cNvSpPr>
          <p:nvPr>
            <p:ph idx="1"/>
          </p:nvPr>
        </p:nvSpPr>
        <p:spPr/>
        <p:txBody>
          <a:bodyPr/>
          <a:lstStyle/>
          <a:p>
            <a:r>
              <a:rPr lang="en-US" dirty="0"/>
              <a:t>Teams Rooms on Windows App 4.19 update includes the support joining a Teams live event as an attendee</a:t>
            </a:r>
            <a:endParaRPr lang="de-DE" dirty="0"/>
          </a:p>
        </p:txBody>
      </p:sp>
      <p:pic>
        <p:nvPicPr>
          <p:cNvPr id="4098" name="Picture 2" descr="outlook">
            <a:extLst>
              <a:ext uri="{FF2B5EF4-FFF2-40B4-BE49-F238E27FC236}">
                <a16:creationId xmlns:a16="http://schemas.microsoft.com/office/drawing/2014/main" id="{D73AD4C7-FB43-E86C-C0D8-D1374E432B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4777" y="2803069"/>
            <a:ext cx="5588012" cy="337389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teams">
            <a:extLst>
              <a:ext uri="{FF2B5EF4-FFF2-40B4-BE49-F238E27FC236}">
                <a16:creationId xmlns:a16="http://schemas.microsoft.com/office/drawing/2014/main" id="{ADF3CAFC-0E08-EE5F-F477-91C87E8C72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51472" y="2803069"/>
            <a:ext cx="5058497" cy="33738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99684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A52265-3DB5-A681-F96F-27320A35EB54}"/>
              </a:ext>
            </a:extLst>
          </p:cNvPr>
          <p:cNvSpPr>
            <a:spLocks noGrp="1"/>
          </p:cNvSpPr>
          <p:nvPr>
            <p:ph type="title"/>
          </p:nvPr>
        </p:nvSpPr>
        <p:spPr/>
        <p:txBody>
          <a:bodyPr/>
          <a:lstStyle/>
          <a:p>
            <a:r>
              <a:rPr lang="en-US" dirty="0"/>
              <a:t>Support Joining a Teams Live Event as Attendee for Teams Rooms on Windows</a:t>
            </a:r>
            <a:endParaRPr lang="de-DE" dirty="0"/>
          </a:p>
        </p:txBody>
      </p:sp>
      <p:pic>
        <p:nvPicPr>
          <p:cNvPr id="5122" name="Picture 2" descr="teams live">
            <a:extLst>
              <a:ext uri="{FF2B5EF4-FFF2-40B4-BE49-F238E27FC236}">
                <a16:creationId xmlns:a16="http://schemas.microsoft.com/office/drawing/2014/main" id="{807E35F9-5B86-FD00-9674-932C366C99D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62827" y="1825625"/>
            <a:ext cx="7866345" cy="44248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58979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Microsoft Teams Rooms Pro Management Improved Search for rooms</a:t>
            </a:r>
          </a:p>
          <a:p>
            <a:r>
              <a:rPr lang="en-US" dirty="0"/>
              <a:t>Watermark support for recording playback (Premium) </a:t>
            </a:r>
            <a:r>
              <a:rPr lang="en-US" dirty="0">
                <a:sym typeface="Wingdings" panose="05000000000000000000" pitchFamily="2" charset="2"/>
              </a:rPr>
              <a:t> Ende Nov</a:t>
            </a:r>
          </a:p>
          <a:p>
            <a:r>
              <a:rPr lang="en-US" dirty="0">
                <a:sym typeface="Wingdings" panose="05000000000000000000" pitchFamily="2" charset="2"/>
              </a:rPr>
              <a:t>Front Row Enhancement: Active video speaker promotion for Teams Rooms on Windows</a:t>
            </a:r>
          </a:p>
          <a:p>
            <a:r>
              <a:rPr lang="en-US" dirty="0">
                <a:sym typeface="Wingdings" panose="05000000000000000000" pitchFamily="2" charset="2"/>
              </a:rPr>
              <a:t>Support Joining a Teams Live Event as Attendee for Teams Rooms on Windows</a:t>
            </a:r>
          </a:p>
          <a:p>
            <a:r>
              <a:rPr lang="en-US" dirty="0">
                <a:sym typeface="Wingdings" panose="05000000000000000000" pitchFamily="2" charset="2"/>
              </a:rPr>
              <a:t>macOS name change: Microsoft Teams to Microsoft Teams classic MDM Impact</a:t>
            </a:r>
          </a:p>
          <a:p>
            <a:r>
              <a:rPr lang="en-US" dirty="0"/>
              <a:t>Extended Real-time Telemetry Retention Up To Seven Days</a:t>
            </a:r>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4980304"/>
            <a:ext cx="10515600" cy="881000"/>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3341696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76B3AB-B16E-287E-1316-672F0258B59F}"/>
              </a:ext>
            </a:extLst>
          </p:cNvPr>
          <p:cNvSpPr>
            <a:spLocks noGrp="1"/>
          </p:cNvSpPr>
          <p:nvPr>
            <p:ph type="title"/>
          </p:nvPr>
        </p:nvSpPr>
        <p:spPr/>
        <p:txBody>
          <a:bodyPr/>
          <a:lstStyle/>
          <a:p>
            <a:r>
              <a:rPr lang="en-US" dirty="0"/>
              <a:t>macOS name change: Microsoft Teams to Microsoft Teams classic MDM Impact</a:t>
            </a:r>
            <a:endParaRPr lang="de-DE" dirty="0"/>
          </a:p>
        </p:txBody>
      </p:sp>
      <p:sp>
        <p:nvSpPr>
          <p:cNvPr id="3" name="Inhaltsplatzhalter 2">
            <a:extLst>
              <a:ext uri="{FF2B5EF4-FFF2-40B4-BE49-F238E27FC236}">
                <a16:creationId xmlns:a16="http://schemas.microsoft.com/office/drawing/2014/main" id="{6F71AECF-7BA4-6357-1CF7-55976CB658A2}"/>
              </a:ext>
            </a:extLst>
          </p:cNvPr>
          <p:cNvSpPr>
            <a:spLocks noGrp="1"/>
          </p:cNvSpPr>
          <p:nvPr>
            <p:ph idx="1"/>
          </p:nvPr>
        </p:nvSpPr>
        <p:spPr/>
        <p:txBody>
          <a:bodyPr/>
          <a:lstStyle/>
          <a:p>
            <a:r>
              <a:rPr lang="en-US" dirty="0"/>
              <a:t>Bundle IDs for new and classic Teams remain the same</a:t>
            </a:r>
          </a:p>
          <a:p>
            <a:pPr lvl="1"/>
            <a:r>
              <a:rPr lang="en-US" dirty="0"/>
              <a:t>The bundle ID for Microsoft Teams classic remains the same</a:t>
            </a:r>
            <a:br>
              <a:rPr lang="en-US" dirty="0"/>
            </a:br>
            <a:r>
              <a:rPr lang="en-US" dirty="0">
                <a:sym typeface="Wingdings" panose="05000000000000000000" pitchFamily="2" charset="2"/>
              </a:rPr>
              <a:t> </a:t>
            </a:r>
            <a:r>
              <a:rPr lang="en-US" dirty="0" err="1"/>
              <a:t>com.microsoft.teams</a:t>
            </a:r>
            <a:r>
              <a:rPr lang="en-US" dirty="0"/>
              <a:t> </a:t>
            </a:r>
          </a:p>
          <a:p>
            <a:pPr lvl="1"/>
            <a:r>
              <a:rPr lang="en-US" dirty="0"/>
              <a:t>The bundle ID for Microsoft Teams (work or school) is</a:t>
            </a:r>
            <a:br>
              <a:rPr lang="en-US" dirty="0"/>
            </a:br>
            <a:r>
              <a:rPr lang="en-US" dirty="0">
                <a:sym typeface="Wingdings" panose="05000000000000000000" pitchFamily="2" charset="2"/>
              </a:rPr>
              <a:t> </a:t>
            </a:r>
            <a:r>
              <a:rPr lang="en-US" dirty="0"/>
              <a:t>com.microsoft.teams2</a:t>
            </a:r>
          </a:p>
          <a:p>
            <a:pPr marL="0" indent="0">
              <a:buNone/>
            </a:pPr>
            <a:r>
              <a:rPr lang="en-US" dirty="0"/>
              <a:t>Note: This is the same bundle ID for the preview version which was named Microsoft Teams (work preview)</a:t>
            </a:r>
            <a:endParaRPr lang="de-DE" dirty="0"/>
          </a:p>
        </p:txBody>
      </p:sp>
    </p:spTree>
    <p:extLst>
      <p:ext uri="{BB962C8B-B14F-4D97-AF65-F5344CB8AC3E}">
        <p14:creationId xmlns:p14="http://schemas.microsoft.com/office/powerpoint/2010/main" val="12785503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76B3AB-B16E-287E-1316-672F0258B59F}"/>
              </a:ext>
            </a:extLst>
          </p:cNvPr>
          <p:cNvSpPr>
            <a:spLocks noGrp="1"/>
          </p:cNvSpPr>
          <p:nvPr>
            <p:ph type="title"/>
          </p:nvPr>
        </p:nvSpPr>
        <p:spPr/>
        <p:txBody>
          <a:bodyPr/>
          <a:lstStyle/>
          <a:p>
            <a:r>
              <a:rPr lang="en-US" dirty="0"/>
              <a:t>macOS name change: Microsoft Teams to Microsoft Teams classic MDM Impact</a:t>
            </a:r>
            <a:endParaRPr lang="de-DE" dirty="0"/>
          </a:p>
        </p:txBody>
      </p:sp>
      <p:sp>
        <p:nvSpPr>
          <p:cNvPr id="3" name="Inhaltsplatzhalter 2">
            <a:extLst>
              <a:ext uri="{FF2B5EF4-FFF2-40B4-BE49-F238E27FC236}">
                <a16:creationId xmlns:a16="http://schemas.microsoft.com/office/drawing/2014/main" id="{6F71AECF-7BA4-6357-1CF7-55976CB658A2}"/>
              </a:ext>
            </a:extLst>
          </p:cNvPr>
          <p:cNvSpPr>
            <a:spLocks noGrp="1"/>
          </p:cNvSpPr>
          <p:nvPr>
            <p:ph idx="1"/>
          </p:nvPr>
        </p:nvSpPr>
        <p:spPr/>
        <p:txBody>
          <a:bodyPr/>
          <a:lstStyle/>
          <a:p>
            <a:r>
              <a:rPr lang="en-US" dirty="0"/>
              <a:t>MacOS .app file name changes with the recent GA of new Teams</a:t>
            </a:r>
          </a:p>
          <a:p>
            <a:pPr lvl="1"/>
            <a:r>
              <a:rPr lang="en-US" dirty="0"/>
              <a:t>Microsoft Teams classic-- formerly Microsoft Teams</a:t>
            </a:r>
            <a:br>
              <a:rPr lang="en-US" dirty="0"/>
            </a:br>
            <a:r>
              <a:rPr lang="en-US" dirty="0"/>
              <a:t>Changed from Microsoft </a:t>
            </a:r>
            <a:r>
              <a:rPr lang="en-US" dirty="0" err="1"/>
              <a:t>Teams.app</a:t>
            </a:r>
            <a:br>
              <a:rPr lang="en-US" dirty="0"/>
            </a:br>
            <a:r>
              <a:rPr lang="en-US" dirty="0"/>
              <a:t>to </a:t>
            </a:r>
            <a:r>
              <a:rPr lang="en-US" dirty="0">
                <a:sym typeface="Wingdings" panose="05000000000000000000" pitchFamily="2" charset="2"/>
              </a:rPr>
              <a:t> </a:t>
            </a:r>
            <a:r>
              <a:rPr lang="en-US" dirty="0"/>
              <a:t>Microsoft Teams </a:t>
            </a:r>
            <a:r>
              <a:rPr lang="en-US" dirty="0" err="1"/>
              <a:t>classic.app</a:t>
            </a:r>
            <a:endParaRPr lang="en-US" dirty="0"/>
          </a:p>
          <a:p>
            <a:endParaRPr lang="en-US" dirty="0"/>
          </a:p>
          <a:p>
            <a:r>
              <a:rPr lang="en-US" dirty="0"/>
              <a:t>New Teams-- now officially Microsoft Teams (work or school)</a:t>
            </a:r>
          </a:p>
          <a:p>
            <a:pPr lvl="1"/>
            <a:r>
              <a:rPr lang="en-US" dirty="0"/>
              <a:t>Changed from Microsoft Teams (work preview).app</a:t>
            </a:r>
            <a:br>
              <a:rPr lang="en-US" dirty="0"/>
            </a:br>
            <a:r>
              <a:rPr lang="en-US" dirty="0"/>
              <a:t>to </a:t>
            </a:r>
            <a:r>
              <a:rPr lang="en-US" dirty="0">
                <a:sym typeface="Wingdings" panose="05000000000000000000" pitchFamily="2" charset="2"/>
              </a:rPr>
              <a:t> </a:t>
            </a:r>
            <a:r>
              <a:rPr lang="en-US" dirty="0"/>
              <a:t>Microsoft Teams (work or school).app</a:t>
            </a:r>
          </a:p>
          <a:p>
            <a:pPr lvl="1"/>
            <a:endParaRPr lang="en-US" dirty="0"/>
          </a:p>
          <a:p>
            <a:pPr marL="0" indent="0">
              <a:buNone/>
            </a:pPr>
            <a:r>
              <a:rPr lang="en-US" sz="2000" dirty="0"/>
              <a:t>Latest Teams Classic Build: </a:t>
            </a:r>
            <a:r>
              <a:rPr lang="en-US" sz="2000" dirty="0">
                <a:hlinkClick r:id="rId2"/>
              </a:rPr>
              <a:t>https://go.microsoft.com/fwlink/?linkid=869428</a:t>
            </a:r>
            <a:r>
              <a:rPr lang="en-US" sz="2000" dirty="0"/>
              <a:t> </a:t>
            </a:r>
            <a:br>
              <a:rPr lang="en-US" sz="2000" dirty="0"/>
            </a:br>
            <a:r>
              <a:rPr lang="en-US" sz="2000" dirty="0"/>
              <a:t>Latest New Teams GA Build: </a:t>
            </a:r>
            <a:r>
              <a:rPr lang="en-US" sz="2000" dirty="0">
                <a:hlinkClick r:id="rId3"/>
              </a:rPr>
              <a:t>https://go.microsoft.com/fwlink/?linkid=2249065</a:t>
            </a:r>
            <a:r>
              <a:rPr lang="en-US" sz="2000" dirty="0"/>
              <a:t> </a:t>
            </a:r>
            <a:endParaRPr lang="de-DE" sz="2000" dirty="0"/>
          </a:p>
        </p:txBody>
      </p:sp>
    </p:spTree>
    <p:extLst>
      <p:ext uri="{BB962C8B-B14F-4D97-AF65-F5344CB8AC3E}">
        <p14:creationId xmlns:p14="http://schemas.microsoft.com/office/powerpoint/2010/main" val="3817897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Microsoft Teams Rooms Pro Management Improved Search for rooms</a:t>
            </a:r>
          </a:p>
          <a:p>
            <a:r>
              <a:rPr lang="en-US" dirty="0"/>
              <a:t>Watermark support for recording playback (Premium) </a:t>
            </a:r>
            <a:r>
              <a:rPr lang="en-US" dirty="0">
                <a:sym typeface="Wingdings" panose="05000000000000000000" pitchFamily="2" charset="2"/>
              </a:rPr>
              <a:t> Ende Nov</a:t>
            </a:r>
          </a:p>
          <a:p>
            <a:r>
              <a:rPr lang="en-US" dirty="0">
                <a:sym typeface="Wingdings" panose="05000000000000000000" pitchFamily="2" charset="2"/>
              </a:rPr>
              <a:t>Front Row Enhancement: Active video speaker promotion for Teams Rooms on Windows</a:t>
            </a:r>
          </a:p>
          <a:p>
            <a:r>
              <a:rPr lang="en-US" dirty="0">
                <a:sym typeface="Wingdings" panose="05000000000000000000" pitchFamily="2" charset="2"/>
              </a:rPr>
              <a:t>Support Joining a Teams Live Event as Attendee for Teams Rooms on Windows</a:t>
            </a:r>
          </a:p>
          <a:p>
            <a:r>
              <a:rPr lang="en-US" dirty="0">
                <a:sym typeface="Wingdings" panose="05000000000000000000" pitchFamily="2" charset="2"/>
              </a:rPr>
              <a:t>macOS name change: Microsoft Teams to Microsoft Teams classic MDM Impact</a:t>
            </a:r>
          </a:p>
          <a:p>
            <a:r>
              <a:rPr lang="en-US" dirty="0"/>
              <a:t>Extended Real-time Telemetry Retention Up To Seven Days</a:t>
            </a:r>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5861305"/>
            <a:ext cx="10515600" cy="631570"/>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1862083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8EAC81-864B-AA3C-02D2-FCFDCC05E799}"/>
              </a:ext>
            </a:extLst>
          </p:cNvPr>
          <p:cNvSpPr>
            <a:spLocks noGrp="1"/>
          </p:cNvSpPr>
          <p:nvPr>
            <p:ph type="title"/>
          </p:nvPr>
        </p:nvSpPr>
        <p:spPr/>
        <p:txBody>
          <a:bodyPr/>
          <a:lstStyle/>
          <a:p>
            <a:r>
              <a:rPr lang="en-US" dirty="0"/>
              <a:t>Extended Real-time Telemetry Retention Up To Seven Days</a:t>
            </a:r>
            <a:endParaRPr lang="de-DE" dirty="0"/>
          </a:p>
        </p:txBody>
      </p:sp>
      <p:sp>
        <p:nvSpPr>
          <p:cNvPr id="3" name="Inhaltsplatzhalter 2">
            <a:extLst>
              <a:ext uri="{FF2B5EF4-FFF2-40B4-BE49-F238E27FC236}">
                <a16:creationId xmlns:a16="http://schemas.microsoft.com/office/drawing/2014/main" id="{4D4BEA8D-A210-D82C-3177-B513F5A60BD1}"/>
              </a:ext>
            </a:extLst>
          </p:cNvPr>
          <p:cNvSpPr>
            <a:spLocks noGrp="1"/>
          </p:cNvSpPr>
          <p:nvPr>
            <p:ph idx="1"/>
          </p:nvPr>
        </p:nvSpPr>
        <p:spPr>
          <a:xfrm>
            <a:off x="838200" y="1825625"/>
            <a:ext cx="10515600" cy="1055361"/>
          </a:xfrm>
        </p:spPr>
        <p:txBody>
          <a:bodyPr/>
          <a:lstStyle/>
          <a:p>
            <a:r>
              <a:rPr lang="de-DE" dirty="0">
                <a:hlinkClick r:id="rId2"/>
              </a:rPr>
              <a:t>Verwenden von Echtzeit-Telemetrie zur Problembehandlung bei schlechter Besprechungsqualität</a:t>
            </a:r>
            <a:endParaRPr lang="de-DE" dirty="0"/>
          </a:p>
        </p:txBody>
      </p:sp>
      <p:graphicFrame>
        <p:nvGraphicFramePr>
          <p:cNvPr id="4" name="Tabelle 4">
            <a:extLst>
              <a:ext uri="{FF2B5EF4-FFF2-40B4-BE49-F238E27FC236}">
                <a16:creationId xmlns:a16="http://schemas.microsoft.com/office/drawing/2014/main" id="{AB2BAF3A-14CC-7EC2-1E5D-4A468DC169A3}"/>
              </a:ext>
            </a:extLst>
          </p:cNvPr>
          <p:cNvGraphicFramePr>
            <a:graphicFrameLocks noGrp="1"/>
          </p:cNvGraphicFramePr>
          <p:nvPr>
            <p:extLst>
              <p:ext uri="{D42A27DB-BD31-4B8C-83A1-F6EECF244321}">
                <p14:modId xmlns:p14="http://schemas.microsoft.com/office/powerpoint/2010/main" val="4128880418"/>
              </p:ext>
            </p:extLst>
          </p:nvPr>
        </p:nvGraphicFramePr>
        <p:xfrm>
          <a:off x="838199" y="3015923"/>
          <a:ext cx="10515600" cy="3388360"/>
        </p:xfrm>
        <a:graphic>
          <a:graphicData uri="http://schemas.openxmlformats.org/drawingml/2006/table">
            <a:tbl>
              <a:tblPr>
                <a:tableStyleId>{B301B821-A1FF-4177-AEE7-76D212191A09}</a:tableStyleId>
              </a:tblPr>
              <a:tblGrid>
                <a:gridCol w="2628900">
                  <a:extLst>
                    <a:ext uri="{9D8B030D-6E8A-4147-A177-3AD203B41FA5}">
                      <a16:colId xmlns:a16="http://schemas.microsoft.com/office/drawing/2014/main" val="205249242"/>
                    </a:ext>
                  </a:extLst>
                </a:gridCol>
                <a:gridCol w="2628900">
                  <a:extLst>
                    <a:ext uri="{9D8B030D-6E8A-4147-A177-3AD203B41FA5}">
                      <a16:colId xmlns:a16="http://schemas.microsoft.com/office/drawing/2014/main" val="4206594861"/>
                    </a:ext>
                  </a:extLst>
                </a:gridCol>
                <a:gridCol w="2628900">
                  <a:extLst>
                    <a:ext uri="{9D8B030D-6E8A-4147-A177-3AD203B41FA5}">
                      <a16:colId xmlns:a16="http://schemas.microsoft.com/office/drawing/2014/main" val="82246960"/>
                    </a:ext>
                  </a:extLst>
                </a:gridCol>
                <a:gridCol w="2628900">
                  <a:extLst>
                    <a:ext uri="{9D8B030D-6E8A-4147-A177-3AD203B41FA5}">
                      <a16:colId xmlns:a16="http://schemas.microsoft.com/office/drawing/2014/main" val="599125743"/>
                    </a:ext>
                  </a:extLst>
                </a:gridCol>
              </a:tblGrid>
              <a:tr h="370840">
                <a:tc rowSpan="2">
                  <a:txBody>
                    <a:bodyPr/>
                    <a:lstStyle/>
                    <a:p>
                      <a:pPr algn="ctr"/>
                      <a:r>
                        <a:rPr lang="de-DE" dirty="0">
                          <a:latin typeface="Aptos" panose="020B0004020202020204" pitchFamily="34" charset="0"/>
                        </a:rPr>
                        <a:t>Szenario</a:t>
                      </a:r>
                      <a:endParaRPr lang="de-DE" dirty="0"/>
                    </a:p>
                  </a:txBody>
                  <a:tcPr anchor="ctr"/>
                </a:tc>
                <a:tc rowSpan="2">
                  <a:txBody>
                    <a:bodyPr/>
                    <a:lstStyle/>
                    <a:p>
                      <a:pPr algn="ctr"/>
                      <a:r>
                        <a:rPr lang="de-DE" dirty="0">
                          <a:latin typeface="Aptos" panose="020B0004020202020204" pitchFamily="34" charset="0"/>
                        </a:rPr>
                        <a:t>Aktuelles Verhalten</a:t>
                      </a:r>
                      <a:br>
                        <a:rPr lang="de-DE" dirty="0">
                          <a:latin typeface="Aptos" panose="020B0004020202020204" pitchFamily="34" charset="0"/>
                        </a:rPr>
                      </a:br>
                      <a:r>
                        <a:rPr lang="de-DE" dirty="0">
                          <a:latin typeface="Aptos" panose="020B0004020202020204" pitchFamily="34" charset="0"/>
                        </a:rPr>
                        <a:t>(Public Preview)</a:t>
                      </a:r>
                      <a:endParaRPr lang="de-DE" dirty="0"/>
                    </a:p>
                  </a:txBody>
                  <a:tcPr anchor="ctr"/>
                </a:tc>
                <a:tc gridSpan="2">
                  <a:txBody>
                    <a:bodyPr/>
                    <a:lstStyle/>
                    <a:p>
                      <a:pPr algn="ctr"/>
                      <a:r>
                        <a:rPr lang="de-DE" dirty="0">
                          <a:latin typeface="Aptos" panose="020B0004020202020204" pitchFamily="34" charset="0"/>
                        </a:rPr>
                        <a:t>Neues Verhalten ab GA</a:t>
                      </a:r>
                      <a:endParaRPr lang="de-DE" dirty="0"/>
                    </a:p>
                  </a:txBody>
                  <a:tcPr/>
                </a:tc>
                <a:tc hMerge="1">
                  <a:txBody>
                    <a:bodyPr/>
                    <a:lstStyle/>
                    <a:p>
                      <a:endParaRPr lang="de-DE" dirty="0"/>
                    </a:p>
                  </a:txBody>
                  <a:tcPr/>
                </a:tc>
                <a:extLst>
                  <a:ext uri="{0D108BD9-81ED-4DB2-BD59-A6C34878D82A}">
                    <a16:rowId xmlns:a16="http://schemas.microsoft.com/office/drawing/2014/main" val="1053876588"/>
                  </a:ext>
                </a:extLst>
              </a:tr>
              <a:tr h="370840">
                <a:tc vMerge="1">
                  <a:txBody>
                    <a:bodyPr/>
                    <a:lstStyle/>
                    <a:p>
                      <a:endParaRPr lang="de-DE" dirty="0"/>
                    </a:p>
                  </a:txBody>
                  <a:tcPr/>
                </a:tc>
                <a:tc vMerge="1">
                  <a:txBody>
                    <a:bodyPr/>
                    <a:lstStyle/>
                    <a:p>
                      <a:endParaRPr lang="de-DE" dirty="0"/>
                    </a:p>
                  </a:txBody>
                  <a:tcPr/>
                </a:tc>
                <a:tc>
                  <a:txBody>
                    <a:bodyPr/>
                    <a:lstStyle/>
                    <a:p>
                      <a:r>
                        <a:rPr lang="de-DE" dirty="0">
                          <a:latin typeface="Aptos" panose="020B0004020202020204" pitchFamily="34" charset="0"/>
                        </a:rPr>
                        <a:t>Besprechungsteilnehmer mit Teams Premium</a:t>
                      </a:r>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latin typeface="Aptos" panose="020B0004020202020204" pitchFamily="34" charset="0"/>
                        </a:rPr>
                        <a:t>Besprechungsteilnehmer  ohne Teams Premium</a:t>
                      </a:r>
                    </a:p>
                  </a:txBody>
                  <a:tcPr/>
                </a:tc>
                <a:extLst>
                  <a:ext uri="{0D108BD9-81ED-4DB2-BD59-A6C34878D82A}">
                    <a16:rowId xmlns:a16="http://schemas.microsoft.com/office/drawing/2014/main" val="2805090251"/>
                  </a:ext>
                </a:extLst>
              </a:tr>
              <a:tr h="370840">
                <a:tc>
                  <a:txBody>
                    <a:bodyPr/>
                    <a:lstStyle/>
                    <a:p>
                      <a:r>
                        <a:rPr lang="de-DE" dirty="0">
                          <a:latin typeface="Aptos" panose="020B0004020202020204" pitchFamily="34" charset="0"/>
                        </a:rPr>
                        <a:t>Admin hat keine Echtzeit-Telemetrie im TAC aktiviert</a:t>
                      </a:r>
                      <a:endParaRPr lang="de-DE" dirty="0"/>
                    </a:p>
                  </a:txBody>
                  <a:tcPr/>
                </a:tc>
                <a:tc>
                  <a:txBody>
                    <a:bodyPr/>
                    <a:lstStyle/>
                    <a:p>
                      <a:pPr algn="ctr"/>
                      <a:r>
                        <a:rPr lang="de-DE" dirty="0">
                          <a:latin typeface="Aptos" panose="020B0004020202020204" pitchFamily="34" charset="0"/>
                        </a:rPr>
                        <a:t>0 Tage</a:t>
                      </a:r>
                      <a:endParaRPr lang="de-DE" dirty="0"/>
                    </a:p>
                  </a:txBody>
                  <a:tcPr anchor="ctr"/>
                </a:tc>
                <a:tc>
                  <a:txBody>
                    <a:bodyPr/>
                    <a:lstStyle/>
                    <a:p>
                      <a:pPr algn="ctr"/>
                      <a:r>
                        <a:rPr lang="de-DE" dirty="0">
                          <a:latin typeface="Aptos" panose="020B0004020202020204" pitchFamily="34" charset="0"/>
                        </a:rPr>
                        <a:t>7 Tage</a:t>
                      </a:r>
                      <a:endParaRPr lang="de-DE" dirty="0"/>
                    </a:p>
                  </a:txBody>
                  <a:tcPr anchor="ctr"/>
                </a:tc>
                <a:tc>
                  <a:txBody>
                    <a:bodyPr/>
                    <a:lstStyle/>
                    <a:p>
                      <a:pPr algn="ctr"/>
                      <a:r>
                        <a:rPr lang="de-DE" dirty="0">
                          <a:latin typeface="Aptos" panose="020B0004020202020204" pitchFamily="34" charset="0"/>
                        </a:rPr>
                        <a:t>0 Tage</a:t>
                      </a:r>
                      <a:endParaRPr lang="de-DE" dirty="0"/>
                    </a:p>
                  </a:txBody>
                  <a:tcPr anchor="ctr"/>
                </a:tc>
                <a:extLst>
                  <a:ext uri="{0D108BD9-81ED-4DB2-BD59-A6C34878D82A}">
                    <a16:rowId xmlns:a16="http://schemas.microsoft.com/office/drawing/2014/main" val="280647572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latin typeface="Aptos" panose="020B0004020202020204" pitchFamily="34" charset="0"/>
                        </a:rPr>
                        <a:t>Admin hat Echtzeit-Telemetrie für aktive Besprechungen im TAC aktiviert</a:t>
                      </a:r>
                    </a:p>
                    <a:p>
                      <a:endParaRPr lang="de-DE" dirty="0"/>
                    </a:p>
                  </a:txBody>
                  <a:tcPr/>
                </a:tc>
                <a:tc>
                  <a:txBody>
                    <a:bodyPr/>
                    <a:lstStyle/>
                    <a:p>
                      <a:pPr algn="ctr"/>
                      <a:r>
                        <a:rPr lang="de-DE" dirty="0">
                          <a:latin typeface="Aptos" panose="020B0004020202020204" pitchFamily="34" charset="0"/>
                        </a:rPr>
                        <a:t>7 Tage</a:t>
                      </a:r>
                      <a:endParaRPr lang="de-DE" dirty="0"/>
                    </a:p>
                  </a:txBody>
                  <a:tcPr anchor="ctr"/>
                </a:tc>
                <a:tc>
                  <a:txBody>
                    <a:bodyPr/>
                    <a:lstStyle/>
                    <a:p>
                      <a:pPr algn="ctr"/>
                      <a:r>
                        <a:rPr lang="de-DE" dirty="0">
                          <a:latin typeface="Aptos" panose="020B0004020202020204" pitchFamily="34" charset="0"/>
                        </a:rPr>
                        <a:t>7 Tage</a:t>
                      </a:r>
                      <a:endParaRPr lang="de-DE" dirty="0"/>
                    </a:p>
                  </a:txBody>
                  <a:tcPr anchor="ctr"/>
                </a:tc>
                <a:tc>
                  <a:txBody>
                    <a:bodyPr/>
                    <a:lstStyle/>
                    <a:p>
                      <a:pPr algn="ctr"/>
                      <a:r>
                        <a:rPr lang="de-DE" dirty="0">
                          <a:latin typeface="Aptos" panose="020B0004020202020204" pitchFamily="34" charset="0"/>
                        </a:rPr>
                        <a:t>1 Tag</a:t>
                      </a:r>
                      <a:endParaRPr lang="de-DE" dirty="0"/>
                    </a:p>
                  </a:txBody>
                  <a:tcPr anchor="ctr"/>
                </a:tc>
                <a:extLst>
                  <a:ext uri="{0D108BD9-81ED-4DB2-BD59-A6C34878D82A}">
                    <a16:rowId xmlns:a16="http://schemas.microsoft.com/office/drawing/2014/main" val="860892290"/>
                  </a:ext>
                </a:extLst>
              </a:tr>
            </a:tbl>
          </a:graphicData>
        </a:graphic>
      </p:graphicFrame>
    </p:spTree>
    <p:extLst>
      <p:ext uri="{BB962C8B-B14F-4D97-AF65-F5344CB8AC3E}">
        <p14:creationId xmlns:p14="http://schemas.microsoft.com/office/powerpoint/2010/main" val="8504678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Ratings and Reviews for Apps on Teams now Available</a:t>
            </a:r>
          </a:p>
          <a:p>
            <a:r>
              <a:rPr lang="en-US" dirty="0"/>
              <a:t>Bring-Your-Own-Device IT Admin Experience in Teams Pro Management Portal</a:t>
            </a:r>
          </a:p>
          <a:p>
            <a:r>
              <a:rPr lang="en-US" dirty="0"/>
              <a:t>Advanced Collaboration Analytics (Premium)</a:t>
            </a:r>
          </a:p>
          <a:p>
            <a:r>
              <a:rPr lang="en-US" dirty="0"/>
              <a:t>Webinar Email feature updates -customize content and time to send reminders (Premium)</a:t>
            </a:r>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1825624"/>
            <a:ext cx="10515600" cy="504218"/>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2617257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A307F5-9AEA-40BD-A880-754C7400F523}"/>
              </a:ext>
            </a:extLst>
          </p:cNvPr>
          <p:cNvSpPr>
            <a:spLocks noGrp="1"/>
          </p:cNvSpPr>
          <p:nvPr>
            <p:ph type="title"/>
          </p:nvPr>
        </p:nvSpPr>
        <p:spPr/>
        <p:txBody>
          <a:bodyPr/>
          <a:lstStyle/>
          <a:p>
            <a:r>
              <a:rPr lang="de-DE"/>
              <a:t>Agenda</a:t>
            </a:r>
          </a:p>
        </p:txBody>
      </p:sp>
      <p:graphicFrame>
        <p:nvGraphicFramePr>
          <p:cNvPr id="6" name="Tabelle 6">
            <a:extLst>
              <a:ext uri="{FF2B5EF4-FFF2-40B4-BE49-F238E27FC236}">
                <a16:creationId xmlns:a16="http://schemas.microsoft.com/office/drawing/2014/main" id="{0F955DCC-462D-431D-BBDE-26F10687D590}"/>
              </a:ext>
            </a:extLst>
          </p:cNvPr>
          <p:cNvGraphicFramePr>
            <a:graphicFrameLocks noGrp="1"/>
          </p:cNvGraphicFramePr>
          <p:nvPr>
            <p:extLst>
              <p:ext uri="{D42A27DB-BD31-4B8C-83A1-F6EECF244321}">
                <p14:modId xmlns:p14="http://schemas.microsoft.com/office/powerpoint/2010/main" val="3962510355"/>
              </p:ext>
            </p:extLst>
          </p:nvPr>
        </p:nvGraphicFramePr>
        <p:xfrm>
          <a:off x="838199" y="1586441"/>
          <a:ext cx="10515600" cy="3749040"/>
        </p:xfrm>
        <a:graphic>
          <a:graphicData uri="http://schemas.openxmlformats.org/drawingml/2006/table">
            <a:tbl>
              <a:tblPr firstRow="1" bandRow="1">
                <a:tableStyleId>{22838BEF-8BB2-4498-84A7-C5851F593DF1}</a:tableStyleId>
              </a:tblPr>
              <a:tblGrid>
                <a:gridCol w="1876426">
                  <a:extLst>
                    <a:ext uri="{9D8B030D-6E8A-4147-A177-3AD203B41FA5}">
                      <a16:colId xmlns:a16="http://schemas.microsoft.com/office/drawing/2014/main" val="990303985"/>
                    </a:ext>
                  </a:extLst>
                </a:gridCol>
                <a:gridCol w="8639174">
                  <a:extLst>
                    <a:ext uri="{9D8B030D-6E8A-4147-A177-3AD203B41FA5}">
                      <a16:colId xmlns:a16="http://schemas.microsoft.com/office/drawing/2014/main" val="1337404191"/>
                    </a:ext>
                  </a:extLst>
                </a:gridCol>
              </a:tblGrid>
              <a:tr h="370840">
                <a:tc>
                  <a:txBody>
                    <a:bodyPr/>
                    <a:lstStyle/>
                    <a:p>
                      <a:r>
                        <a:rPr lang="de-DE" sz="2400" dirty="0">
                          <a:latin typeface="Aptos" panose="020B0004020202020204" pitchFamily="34" charset="0"/>
                        </a:rPr>
                        <a:t>18:00 - 18:15</a:t>
                      </a:r>
                    </a:p>
                  </a:txBody>
                  <a:tcPr/>
                </a:tc>
                <a:tc>
                  <a:txBody>
                    <a:bodyPr/>
                    <a:lstStyle/>
                    <a:p>
                      <a:r>
                        <a:rPr lang="de-DE" sz="2400" dirty="0">
                          <a:latin typeface="Aptos" panose="020B0004020202020204" pitchFamily="34" charset="0"/>
                        </a:rPr>
                        <a:t>Landing Zone</a:t>
                      </a:r>
                    </a:p>
                  </a:txBody>
                  <a:tcPr/>
                </a:tc>
                <a:extLst>
                  <a:ext uri="{0D108BD9-81ED-4DB2-BD59-A6C34878D82A}">
                    <a16:rowId xmlns:a16="http://schemas.microsoft.com/office/drawing/2014/main" val="3172437946"/>
                  </a:ext>
                </a:extLst>
              </a:tr>
              <a:tr h="370840">
                <a:tc>
                  <a:txBody>
                    <a:bodyPr/>
                    <a:lstStyle/>
                    <a:p>
                      <a:r>
                        <a:rPr lang="de-DE" sz="2400" dirty="0">
                          <a:latin typeface="Aptos" panose="020B0004020202020204" pitchFamily="34" charset="0"/>
                        </a:rPr>
                        <a:t>18:15 - 19:0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400" b="1" dirty="0">
                          <a:latin typeface="Aptos" panose="020B0004020202020204" pitchFamily="34" charset="0"/>
                        </a:rPr>
                        <a:t>Content-Migration nach SharePoint und Teams</a:t>
                      </a:r>
                      <a:br>
                        <a:rPr lang="de-DE" sz="2400" b="1" dirty="0"/>
                      </a:br>
                      <a:r>
                        <a:rPr lang="de-DE" sz="2400" b="0" dirty="0"/>
                        <a:t>Hanna Kostrewa und Stefan </a:t>
                      </a:r>
                      <a:r>
                        <a:rPr lang="de-DE" sz="2400" b="0" dirty="0" err="1"/>
                        <a:t>Esch</a:t>
                      </a:r>
                      <a:endParaRPr lang="de-DE" sz="2400" b="0" dirty="0"/>
                    </a:p>
                  </a:txBody>
                  <a:tcPr/>
                </a:tc>
                <a:extLst>
                  <a:ext uri="{0D108BD9-81ED-4DB2-BD59-A6C34878D82A}">
                    <a16:rowId xmlns:a16="http://schemas.microsoft.com/office/drawing/2014/main" val="4055201544"/>
                  </a:ext>
                </a:extLst>
              </a:tr>
              <a:tr h="370840">
                <a:tc>
                  <a:txBody>
                    <a:bodyPr/>
                    <a:lstStyle/>
                    <a:p>
                      <a:r>
                        <a:rPr lang="de-DE" sz="2400" dirty="0">
                          <a:latin typeface="Aptos" panose="020B0004020202020204" pitchFamily="34" charset="0"/>
                        </a:rPr>
                        <a:t>19:15 - 19:45</a:t>
                      </a:r>
                    </a:p>
                  </a:txBody>
                  <a:tcPr/>
                </a:tc>
                <a:tc>
                  <a:txBody>
                    <a:bodyPr/>
                    <a:lstStyle/>
                    <a:p>
                      <a:r>
                        <a:rPr lang="de-DE" sz="2400" b="1" i="1" strike="noStrike" dirty="0">
                          <a:latin typeface="Aptos" panose="020B0004020202020204" pitchFamily="34" charset="0"/>
                        </a:rPr>
                        <a:t>Microsoft Teams Neuigkeiten</a:t>
                      </a:r>
                      <a:br>
                        <a:rPr lang="de-DE" sz="2400" b="1" i="1" dirty="0"/>
                      </a:br>
                      <a:r>
                        <a:rPr lang="de-DE" sz="2400" dirty="0"/>
                        <a:t>Thomas Stensitzki (@stensitzki)</a:t>
                      </a:r>
                    </a:p>
                  </a:txBody>
                  <a:tcPr/>
                </a:tc>
                <a:extLst>
                  <a:ext uri="{0D108BD9-81ED-4DB2-BD59-A6C34878D82A}">
                    <a16:rowId xmlns:a16="http://schemas.microsoft.com/office/drawing/2014/main" val="3536441427"/>
                  </a:ext>
                </a:extLst>
              </a:tr>
              <a:tr h="370840">
                <a:tc>
                  <a:txBody>
                    <a:bodyPr/>
                    <a:lstStyle/>
                    <a:p>
                      <a:r>
                        <a:rPr lang="de-DE" sz="2400" dirty="0">
                          <a:latin typeface="Aptos" panose="020B0004020202020204" pitchFamily="34" charset="0"/>
                        </a:rPr>
                        <a:t>19:45 -20:30</a:t>
                      </a:r>
                    </a:p>
                  </a:txBody>
                  <a:tcPr/>
                </a:tc>
                <a:tc>
                  <a:txBody>
                    <a:bodyPr/>
                    <a:lstStyle/>
                    <a:p>
                      <a:r>
                        <a:rPr lang="de-DE" sz="2400" b="1" dirty="0">
                          <a:latin typeface="Aptos" panose="020B0004020202020204" pitchFamily="34" charset="0"/>
                        </a:rPr>
                        <a:t>Offene Teams </a:t>
                      </a:r>
                      <a:r>
                        <a:rPr lang="de-DE" sz="2400" b="1" dirty="0"/>
                        <a:t>Sprechstunde</a:t>
                      </a:r>
                      <a:br>
                        <a:rPr lang="de-DE" sz="2400" b="1" dirty="0"/>
                      </a:br>
                      <a:endParaRPr lang="de-DE" sz="2400" dirty="0"/>
                    </a:p>
                  </a:txBody>
                  <a:tcPr/>
                </a:tc>
                <a:extLst>
                  <a:ext uri="{0D108BD9-81ED-4DB2-BD59-A6C34878D82A}">
                    <a16:rowId xmlns:a16="http://schemas.microsoft.com/office/drawing/2014/main" val="3560029789"/>
                  </a:ext>
                </a:extLst>
              </a:tr>
              <a:tr h="370840">
                <a:tc>
                  <a:txBody>
                    <a:bodyPr/>
                    <a:lstStyle/>
                    <a:p>
                      <a:endParaRPr lang="de-DE" sz="2400" dirty="0">
                        <a:latin typeface="Aptos" panose="020B0004020202020204" pitchFamily="34" charset="0"/>
                      </a:endParaRPr>
                    </a:p>
                  </a:txBody>
                  <a:tcPr/>
                </a:tc>
                <a:tc>
                  <a:txBody>
                    <a:bodyPr/>
                    <a:lstStyle/>
                    <a:p>
                      <a:r>
                        <a:rPr lang="de-DE" sz="2400" dirty="0">
                          <a:latin typeface="Aptos" panose="020B0004020202020204" pitchFamily="34" charset="0"/>
                        </a:rPr>
                        <a:t>Organisatorisches</a:t>
                      </a:r>
                    </a:p>
                  </a:txBody>
                  <a:tcPr/>
                </a:tc>
                <a:extLst>
                  <a:ext uri="{0D108BD9-81ED-4DB2-BD59-A6C34878D82A}">
                    <a16:rowId xmlns:a16="http://schemas.microsoft.com/office/drawing/2014/main" val="529724932"/>
                  </a:ext>
                </a:extLst>
              </a:tr>
            </a:tbl>
          </a:graphicData>
        </a:graphic>
      </p:graphicFrame>
      <p:sp>
        <p:nvSpPr>
          <p:cNvPr id="5" name="Textfeld 4">
            <a:extLst>
              <a:ext uri="{FF2B5EF4-FFF2-40B4-BE49-F238E27FC236}">
                <a16:creationId xmlns:a16="http://schemas.microsoft.com/office/drawing/2014/main" id="{EE6719E1-4DB6-4D58-BA77-937CF975247C}"/>
              </a:ext>
            </a:extLst>
          </p:cNvPr>
          <p:cNvSpPr txBox="1"/>
          <p:nvPr/>
        </p:nvSpPr>
        <p:spPr>
          <a:xfrm>
            <a:off x="1714498" y="5921268"/>
            <a:ext cx="9639301" cy="584775"/>
          </a:xfrm>
          <a:prstGeom prst="rect">
            <a:avLst/>
          </a:prstGeom>
          <a:noFill/>
        </p:spPr>
        <p:txBody>
          <a:bodyPr wrap="square" rtlCol="0">
            <a:spAutoFit/>
          </a:bodyPr>
          <a:lstStyle/>
          <a:p>
            <a:r>
              <a:rPr lang="de-DE" sz="1600" i="1" dirty="0">
                <a:latin typeface="Aptos" panose="020B0004020202020204" pitchFamily="34" charset="0"/>
              </a:rPr>
              <a:t>Dieses Meeting wird aufgezeichnet und online auf YouTube bereitgestellt.</a:t>
            </a:r>
            <a:br>
              <a:rPr lang="de-DE" sz="1600" i="1" dirty="0">
                <a:latin typeface="Aptos" panose="020B0004020202020204" pitchFamily="34" charset="0"/>
              </a:rPr>
            </a:br>
            <a:r>
              <a:rPr lang="de-DE" sz="1600" i="1" dirty="0">
                <a:latin typeface="Aptos" panose="020B0004020202020204" pitchFamily="34" charset="0"/>
              </a:rPr>
              <a:t>This </a:t>
            </a:r>
            <a:r>
              <a:rPr lang="de-DE" sz="1600" i="1" dirty="0" err="1">
                <a:latin typeface="Aptos" panose="020B0004020202020204" pitchFamily="34" charset="0"/>
              </a:rPr>
              <a:t>meeting</a:t>
            </a:r>
            <a:r>
              <a:rPr lang="de-DE" sz="1600" i="1" dirty="0">
                <a:latin typeface="Aptos" panose="020B0004020202020204" pitchFamily="34" charset="0"/>
              </a:rPr>
              <a:t> will be </a:t>
            </a:r>
            <a:r>
              <a:rPr lang="de-DE" sz="1600" i="1" dirty="0" err="1">
                <a:latin typeface="Aptos" panose="020B0004020202020204" pitchFamily="34" charset="0"/>
              </a:rPr>
              <a:t>recorded</a:t>
            </a:r>
            <a:r>
              <a:rPr lang="de-DE" sz="1600" i="1" dirty="0">
                <a:latin typeface="Aptos" panose="020B0004020202020204" pitchFamily="34" charset="0"/>
              </a:rPr>
              <a:t> and </a:t>
            </a:r>
            <a:r>
              <a:rPr lang="de-DE" sz="1600" i="1" dirty="0" err="1">
                <a:latin typeface="Aptos" panose="020B0004020202020204" pitchFamily="34" charset="0"/>
              </a:rPr>
              <a:t>made</a:t>
            </a:r>
            <a:r>
              <a:rPr lang="de-DE" sz="1600" i="1" dirty="0">
                <a:latin typeface="Aptos" panose="020B0004020202020204" pitchFamily="34" charset="0"/>
              </a:rPr>
              <a:t> available online.</a:t>
            </a:r>
          </a:p>
        </p:txBody>
      </p:sp>
      <p:grpSp>
        <p:nvGrpSpPr>
          <p:cNvPr id="7" name="Grafik 3" descr="Webcam">
            <a:extLst>
              <a:ext uri="{FF2B5EF4-FFF2-40B4-BE49-F238E27FC236}">
                <a16:creationId xmlns:a16="http://schemas.microsoft.com/office/drawing/2014/main" id="{5208F678-5B34-4CB8-9EB9-59A6E4079C9F}"/>
              </a:ext>
            </a:extLst>
          </p:cNvPr>
          <p:cNvGrpSpPr/>
          <p:nvPr/>
        </p:nvGrpSpPr>
        <p:grpSpPr>
          <a:xfrm>
            <a:off x="838198" y="5792681"/>
            <a:ext cx="914400" cy="914400"/>
            <a:chOff x="838198" y="5792681"/>
            <a:chExt cx="914400" cy="914400"/>
          </a:xfrm>
        </p:grpSpPr>
        <p:sp>
          <p:nvSpPr>
            <p:cNvPr id="8" name="Freihandform: Form 7">
              <a:extLst>
                <a:ext uri="{FF2B5EF4-FFF2-40B4-BE49-F238E27FC236}">
                  <a16:creationId xmlns:a16="http://schemas.microsoft.com/office/drawing/2014/main" id="{D1326C8E-7355-49F1-8E55-C858E51F0032}"/>
                </a:ext>
              </a:extLst>
            </p:cNvPr>
            <p:cNvSpPr/>
            <p:nvPr/>
          </p:nvSpPr>
          <p:spPr>
            <a:xfrm>
              <a:off x="1028698" y="5926031"/>
              <a:ext cx="533400" cy="647700"/>
            </a:xfrm>
            <a:custGeom>
              <a:avLst/>
              <a:gdLst>
                <a:gd name="connsiteX0" fmla="*/ 114300 w 533400"/>
                <a:gd name="connsiteY0" fmla="*/ 266700 h 647700"/>
                <a:gd name="connsiteX1" fmla="*/ 266700 w 533400"/>
                <a:gd name="connsiteY1" fmla="*/ 114300 h 647700"/>
                <a:gd name="connsiteX2" fmla="*/ 419100 w 533400"/>
                <a:gd name="connsiteY2" fmla="*/ 266700 h 647700"/>
                <a:gd name="connsiteX3" fmla="*/ 266700 w 533400"/>
                <a:gd name="connsiteY3" fmla="*/ 419100 h 647700"/>
                <a:gd name="connsiteX4" fmla="*/ 114300 w 533400"/>
                <a:gd name="connsiteY4" fmla="*/ 266700 h 647700"/>
                <a:gd name="connsiteX5" fmla="*/ 266700 w 533400"/>
                <a:gd name="connsiteY5" fmla="*/ 38100 h 647700"/>
                <a:gd name="connsiteX6" fmla="*/ 285750 w 533400"/>
                <a:gd name="connsiteY6" fmla="*/ 57150 h 647700"/>
                <a:gd name="connsiteX7" fmla="*/ 266700 w 533400"/>
                <a:gd name="connsiteY7" fmla="*/ 76200 h 647700"/>
                <a:gd name="connsiteX8" fmla="*/ 247650 w 533400"/>
                <a:gd name="connsiteY8" fmla="*/ 57150 h 647700"/>
                <a:gd name="connsiteX9" fmla="*/ 266700 w 533400"/>
                <a:gd name="connsiteY9" fmla="*/ 38100 h 647700"/>
                <a:gd name="connsiteX10" fmla="*/ 461963 w 533400"/>
                <a:gd name="connsiteY10" fmla="*/ 586740 h 647700"/>
                <a:gd name="connsiteX11" fmla="*/ 342900 w 533400"/>
                <a:gd name="connsiteY11" fmla="*/ 571500 h 647700"/>
                <a:gd name="connsiteX12" fmla="*/ 342900 w 533400"/>
                <a:gd name="connsiteY12" fmla="*/ 521970 h 647700"/>
                <a:gd name="connsiteX13" fmla="*/ 533400 w 533400"/>
                <a:gd name="connsiteY13" fmla="*/ 266700 h 647700"/>
                <a:gd name="connsiteX14" fmla="*/ 266700 w 533400"/>
                <a:gd name="connsiteY14" fmla="*/ 0 h 647700"/>
                <a:gd name="connsiteX15" fmla="*/ 0 w 533400"/>
                <a:gd name="connsiteY15" fmla="*/ 266700 h 647700"/>
                <a:gd name="connsiteX16" fmla="*/ 190500 w 533400"/>
                <a:gd name="connsiteY16" fmla="*/ 521970 h 647700"/>
                <a:gd name="connsiteX17" fmla="*/ 190500 w 533400"/>
                <a:gd name="connsiteY17" fmla="*/ 571500 h 647700"/>
                <a:gd name="connsiteX18" fmla="*/ 71438 w 533400"/>
                <a:gd name="connsiteY18" fmla="*/ 586740 h 647700"/>
                <a:gd name="connsiteX19" fmla="*/ 38100 w 533400"/>
                <a:gd name="connsiteY19" fmla="*/ 624840 h 647700"/>
                <a:gd name="connsiteX20" fmla="*/ 38100 w 533400"/>
                <a:gd name="connsiteY20" fmla="*/ 647700 h 647700"/>
                <a:gd name="connsiteX21" fmla="*/ 495300 w 533400"/>
                <a:gd name="connsiteY21" fmla="*/ 647700 h 647700"/>
                <a:gd name="connsiteX22" fmla="*/ 495300 w 533400"/>
                <a:gd name="connsiteY22" fmla="*/ 623888 h 647700"/>
                <a:gd name="connsiteX23" fmla="*/ 461963 w 533400"/>
                <a:gd name="connsiteY23" fmla="*/ 58674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3400" h="647700">
                  <a:moveTo>
                    <a:pt x="114300" y="266700"/>
                  </a:moveTo>
                  <a:cubicBezTo>
                    <a:pt x="114300" y="182880"/>
                    <a:pt x="182880" y="114300"/>
                    <a:pt x="266700" y="114300"/>
                  </a:cubicBezTo>
                  <a:cubicBezTo>
                    <a:pt x="350520" y="114300"/>
                    <a:pt x="419100" y="182880"/>
                    <a:pt x="419100" y="266700"/>
                  </a:cubicBezTo>
                  <a:cubicBezTo>
                    <a:pt x="419100" y="350520"/>
                    <a:pt x="350520" y="419100"/>
                    <a:pt x="266700" y="419100"/>
                  </a:cubicBezTo>
                  <a:cubicBezTo>
                    <a:pt x="182880" y="419100"/>
                    <a:pt x="114300" y="350520"/>
                    <a:pt x="114300" y="266700"/>
                  </a:cubicBezTo>
                  <a:close/>
                  <a:moveTo>
                    <a:pt x="266700" y="38100"/>
                  </a:moveTo>
                  <a:cubicBezTo>
                    <a:pt x="277178" y="38100"/>
                    <a:pt x="285750" y="46672"/>
                    <a:pt x="285750" y="57150"/>
                  </a:cubicBezTo>
                  <a:cubicBezTo>
                    <a:pt x="285750" y="67628"/>
                    <a:pt x="277178" y="76200"/>
                    <a:pt x="266700" y="76200"/>
                  </a:cubicBezTo>
                  <a:cubicBezTo>
                    <a:pt x="256223" y="76200"/>
                    <a:pt x="247650" y="67628"/>
                    <a:pt x="247650" y="57150"/>
                  </a:cubicBezTo>
                  <a:cubicBezTo>
                    <a:pt x="247650" y="46672"/>
                    <a:pt x="256223" y="38100"/>
                    <a:pt x="266700" y="38100"/>
                  </a:cubicBezTo>
                  <a:close/>
                  <a:moveTo>
                    <a:pt x="461963" y="586740"/>
                  </a:moveTo>
                  <a:lnTo>
                    <a:pt x="342900" y="571500"/>
                  </a:lnTo>
                  <a:lnTo>
                    <a:pt x="342900" y="521970"/>
                  </a:lnTo>
                  <a:cubicBezTo>
                    <a:pt x="453390" y="489585"/>
                    <a:pt x="533400" y="387668"/>
                    <a:pt x="533400" y="266700"/>
                  </a:cubicBezTo>
                  <a:cubicBezTo>
                    <a:pt x="533400" y="119063"/>
                    <a:pt x="414338" y="0"/>
                    <a:pt x="266700" y="0"/>
                  </a:cubicBezTo>
                  <a:cubicBezTo>
                    <a:pt x="119063" y="0"/>
                    <a:pt x="0" y="119063"/>
                    <a:pt x="0" y="266700"/>
                  </a:cubicBezTo>
                  <a:cubicBezTo>
                    <a:pt x="0" y="387668"/>
                    <a:pt x="80010" y="489585"/>
                    <a:pt x="190500" y="521970"/>
                  </a:cubicBezTo>
                  <a:lnTo>
                    <a:pt x="190500" y="571500"/>
                  </a:lnTo>
                  <a:lnTo>
                    <a:pt x="71438" y="586740"/>
                  </a:lnTo>
                  <a:cubicBezTo>
                    <a:pt x="52388" y="589598"/>
                    <a:pt x="38100" y="605790"/>
                    <a:pt x="38100" y="624840"/>
                  </a:cubicBezTo>
                  <a:lnTo>
                    <a:pt x="38100" y="647700"/>
                  </a:lnTo>
                  <a:lnTo>
                    <a:pt x="495300" y="647700"/>
                  </a:lnTo>
                  <a:lnTo>
                    <a:pt x="495300" y="623888"/>
                  </a:lnTo>
                  <a:cubicBezTo>
                    <a:pt x="495300" y="604838"/>
                    <a:pt x="481013" y="588645"/>
                    <a:pt x="461963" y="586740"/>
                  </a:cubicBezTo>
                  <a:close/>
                </a:path>
              </a:pathLst>
            </a:custGeom>
            <a:solidFill>
              <a:srgbClr val="000000"/>
            </a:solidFill>
            <a:ln w="9525" cap="flat">
              <a:noFill/>
              <a:prstDash val="solid"/>
              <a:miter/>
            </a:ln>
          </p:spPr>
          <p:txBody>
            <a:bodyPr rtlCol="0" anchor="ctr"/>
            <a:lstStyle/>
            <a:p>
              <a:endParaRPr lang="de-DE" dirty="0">
                <a:latin typeface="Aptos" panose="020B0004020202020204" pitchFamily="34" charset="0"/>
              </a:endParaRPr>
            </a:p>
          </p:txBody>
        </p:sp>
        <p:sp>
          <p:nvSpPr>
            <p:cNvPr id="9" name="Freihandform: Form 8">
              <a:extLst>
                <a:ext uri="{FF2B5EF4-FFF2-40B4-BE49-F238E27FC236}">
                  <a16:creationId xmlns:a16="http://schemas.microsoft.com/office/drawing/2014/main" id="{31230280-6974-4185-8DD1-18BF02C3192B}"/>
                </a:ext>
              </a:extLst>
            </p:cNvPr>
            <p:cNvSpPr/>
            <p:nvPr/>
          </p:nvSpPr>
          <p:spPr>
            <a:xfrm>
              <a:off x="1181098" y="6078431"/>
              <a:ext cx="228600" cy="228600"/>
            </a:xfrm>
            <a:custGeom>
              <a:avLst/>
              <a:gdLst>
                <a:gd name="connsiteX0" fmla="*/ 114300 w 228600"/>
                <a:gd name="connsiteY0" fmla="*/ 171450 h 228600"/>
                <a:gd name="connsiteX1" fmla="*/ 57150 w 228600"/>
                <a:gd name="connsiteY1" fmla="*/ 114300 h 228600"/>
                <a:gd name="connsiteX2" fmla="*/ 114300 w 228600"/>
                <a:gd name="connsiteY2" fmla="*/ 57150 h 228600"/>
                <a:gd name="connsiteX3" fmla="*/ 171450 w 228600"/>
                <a:gd name="connsiteY3" fmla="*/ 114300 h 228600"/>
                <a:gd name="connsiteX4" fmla="*/ 114300 w 228600"/>
                <a:gd name="connsiteY4" fmla="*/ 171450 h 228600"/>
                <a:gd name="connsiteX5" fmla="*/ 114300 w 228600"/>
                <a:gd name="connsiteY5" fmla="*/ 0 h 228600"/>
                <a:gd name="connsiteX6" fmla="*/ 0 w 228600"/>
                <a:gd name="connsiteY6" fmla="*/ 114300 h 228600"/>
                <a:gd name="connsiteX7" fmla="*/ 114300 w 228600"/>
                <a:gd name="connsiteY7" fmla="*/ 228600 h 228600"/>
                <a:gd name="connsiteX8" fmla="*/ 228600 w 228600"/>
                <a:gd name="connsiteY8" fmla="*/ 114300 h 228600"/>
                <a:gd name="connsiteX9" fmla="*/ 114300 w 228600"/>
                <a:gd name="connsiteY9" fmla="*/ 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600" h="228600">
                  <a:moveTo>
                    <a:pt x="114300" y="171450"/>
                  </a:moveTo>
                  <a:cubicBezTo>
                    <a:pt x="82868" y="171450"/>
                    <a:pt x="57150" y="145733"/>
                    <a:pt x="57150" y="114300"/>
                  </a:cubicBezTo>
                  <a:cubicBezTo>
                    <a:pt x="57150" y="82868"/>
                    <a:pt x="82868" y="57150"/>
                    <a:pt x="114300" y="57150"/>
                  </a:cubicBezTo>
                  <a:cubicBezTo>
                    <a:pt x="145733" y="57150"/>
                    <a:pt x="171450" y="82868"/>
                    <a:pt x="171450" y="114300"/>
                  </a:cubicBezTo>
                  <a:cubicBezTo>
                    <a:pt x="171450" y="145733"/>
                    <a:pt x="145733" y="171450"/>
                    <a:pt x="114300" y="171450"/>
                  </a:cubicBezTo>
                  <a:close/>
                  <a:moveTo>
                    <a:pt x="114300" y="0"/>
                  </a:moveTo>
                  <a:cubicBezTo>
                    <a:pt x="51435" y="0"/>
                    <a:pt x="0" y="51435"/>
                    <a:pt x="0" y="114300"/>
                  </a:cubicBezTo>
                  <a:cubicBezTo>
                    <a:pt x="0" y="177165"/>
                    <a:pt x="51435" y="228600"/>
                    <a:pt x="114300" y="228600"/>
                  </a:cubicBezTo>
                  <a:cubicBezTo>
                    <a:pt x="177165" y="228600"/>
                    <a:pt x="228600" y="177165"/>
                    <a:pt x="228600" y="114300"/>
                  </a:cubicBezTo>
                  <a:cubicBezTo>
                    <a:pt x="228600" y="51435"/>
                    <a:pt x="177165" y="0"/>
                    <a:pt x="114300" y="0"/>
                  </a:cubicBezTo>
                  <a:close/>
                </a:path>
              </a:pathLst>
            </a:custGeom>
            <a:solidFill>
              <a:srgbClr val="000000"/>
            </a:solidFill>
            <a:ln w="9525" cap="flat">
              <a:noFill/>
              <a:prstDash val="solid"/>
              <a:miter/>
            </a:ln>
          </p:spPr>
          <p:txBody>
            <a:bodyPr rtlCol="0" anchor="ctr"/>
            <a:lstStyle/>
            <a:p>
              <a:endParaRPr lang="de-DE" dirty="0">
                <a:latin typeface="Aptos" panose="020B0004020202020204" pitchFamily="34" charset="0"/>
              </a:endParaRPr>
            </a:p>
          </p:txBody>
        </p:sp>
      </p:grpSp>
      <p:pic>
        <p:nvPicPr>
          <p:cNvPr id="3" name="Kamera 2">
            <a:extLst>
              <a:ext uri="{FF2B5EF4-FFF2-40B4-BE49-F238E27FC236}">
                <a16:creationId xmlns:a16="http://schemas.microsoft.com/office/drawing/2014/main" id="{7E9BCC18-41F2-6905-F148-849B8FE8CF63}"/>
              </a:ext>
            </a:extLst>
          </p:cNvPr>
          <p:cNvPicPr>
            <a:picLocks noChangeAspect="1"/>
            <a:extLst>
              <a:ext uri="{51228E76-BA90-4043-B771-695A4F85340A}">
                <alf:liveFeedProps xmlns:alf="http://schemas.microsoft.com/office/drawing/2021/livefeed"/>
              </a:ext>
            </a:extLst>
          </p:cNvPicPr>
          <p:nvPr/>
        </p:nvPicPr>
        <p:blipFill>
          <a:blip r:embed="rId3">
            <a:extLst>
              <a:ext uri="{96DAC541-7B7A-43D3-8B79-37D633B846F1}">
                <asvg:svgBlip xmlns:asvg="http://schemas.microsoft.com/office/drawing/2016/SVG/main" r:embed="rId4"/>
              </a:ext>
            </a:extLst>
          </a:blip>
          <a:stretch>
            <a:fillRect/>
          </a:stretch>
        </p:blipFill>
        <p:spPr>
          <a:xfrm>
            <a:off x="9982202" y="4400726"/>
            <a:ext cx="2057400" cy="2057400"/>
          </a:xfrm>
          <a:prstGeom prst="ellipse">
            <a:avLst/>
          </a:prstGeom>
        </p:spPr>
      </p:pic>
    </p:spTree>
    <p:extLst>
      <p:ext uri="{BB962C8B-B14F-4D97-AF65-F5344CB8AC3E}">
        <p14:creationId xmlns:p14="http://schemas.microsoft.com/office/powerpoint/2010/main" val="2855324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901751-DFFE-9E9E-F49E-74C83804C907}"/>
              </a:ext>
            </a:extLst>
          </p:cNvPr>
          <p:cNvSpPr>
            <a:spLocks noGrp="1"/>
          </p:cNvSpPr>
          <p:nvPr>
            <p:ph type="title"/>
          </p:nvPr>
        </p:nvSpPr>
        <p:spPr/>
        <p:txBody>
          <a:bodyPr/>
          <a:lstStyle/>
          <a:p>
            <a:r>
              <a:rPr lang="en-US" dirty="0"/>
              <a:t>Ratings and Reviews for Apps on Teams now Available</a:t>
            </a:r>
            <a:endParaRPr lang="de-DE" dirty="0"/>
          </a:p>
        </p:txBody>
      </p:sp>
      <p:sp>
        <p:nvSpPr>
          <p:cNvPr id="3" name="Inhaltsplatzhalter 2">
            <a:extLst>
              <a:ext uri="{FF2B5EF4-FFF2-40B4-BE49-F238E27FC236}">
                <a16:creationId xmlns:a16="http://schemas.microsoft.com/office/drawing/2014/main" id="{21F9DBD2-F7BC-E468-F48B-85D0BC462445}"/>
              </a:ext>
            </a:extLst>
          </p:cNvPr>
          <p:cNvSpPr>
            <a:spLocks noGrp="1"/>
          </p:cNvSpPr>
          <p:nvPr>
            <p:ph idx="1"/>
          </p:nvPr>
        </p:nvSpPr>
        <p:spPr/>
        <p:txBody>
          <a:bodyPr/>
          <a:lstStyle/>
          <a:p>
            <a:r>
              <a:rPr lang="de-DE" dirty="0"/>
              <a:t>Anwender können Feedback von anderen Kunden zu einer Teams App sehen und selbst Feedback geben</a:t>
            </a:r>
          </a:p>
          <a:p>
            <a:r>
              <a:rPr lang="de-DE" dirty="0"/>
              <a:t>App-Publisher können auf das Feedback reagieren</a:t>
            </a:r>
          </a:p>
          <a:p>
            <a:r>
              <a:rPr lang="de-DE" dirty="0"/>
              <a:t>Basiert auf: Microsoft </a:t>
            </a:r>
            <a:r>
              <a:rPr lang="de-DE" dirty="0" err="1"/>
              <a:t>AppSource</a:t>
            </a:r>
            <a:r>
              <a:rPr lang="de-DE" dirty="0"/>
              <a:t> Ratings Service</a:t>
            </a:r>
          </a:p>
          <a:p>
            <a:r>
              <a:rPr lang="de-DE" dirty="0"/>
              <a:t>Komponente der </a:t>
            </a:r>
            <a:r>
              <a:rPr lang="de-DE" dirty="0" err="1"/>
              <a:t>Connected</a:t>
            </a:r>
            <a:r>
              <a:rPr lang="de-DE" dirty="0"/>
              <a:t> Experience</a:t>
            </a:r>
          </a:p>
          <a:p>
            <a:pPr lvl="1"/>
            <a:r>
              <a:rPr lang="de-DE" dirty="0">
                <a:hlinkClick r:id="rId2"/>
              </a:rPr>
              <a:t>Übersicht über die optionalen verbundenen Erfahrungen in Microsoft Teams</a:t>
            </a:r>
            <a:endParaRPr lang="de-DE" dirty="0"/>
          </a:p>
        </p:txBody>
      </p:sp>
    </p:spTree>
    <p:extLst>
      <p:ext uri="{BB962C8B-B14F-4D97-AF65-F5344CB8AC3E}">
        <p14:creationId xmlns:p14="http://schemas.microsoft.com/office/powerpoint/2010/main" val="41806034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Ratings and Reviews for Apps on Teams now Available</a:t>
            </a:r>
          </a:p>
          <a:p>
            <a:r>
              <a:rPr lang="en-US" dirty="0"/>
              <a:t>Bring-Your-Own-Device IT Admin Experience in Teams Pro Management Portal</a:t>
            </a:r>
          </a:p>
          <a:p>
            <a:r>
              <a:rPr lang="en-US" dirty="0"/>
              <a:t>Advanced Collaboration Analytics (Premium)</a:t>
            </a:r>
          </a:p>
          <a:p>
            <a:r>
              <a:rPr lang="en-US" dirty="0"/>
              <a:t>Webinar Email feature updates -customize content and time to send reminders (Premium)</a:t>
            </a:r>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2295144"/>
            <a:ext cx="10515600" cy="950976"/>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3596702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E62727E-4CB7-6B7A-043F-0F2A1E056316}"/>
              </a:ext>
            </a:extLst>
          </p:cNvPr>
          <p:cNvSpPr>
            <a:spLocks noGrp="1"/>
          </p:cNvSpPr>
          <p:nvPr>
            <p:ph type="title"/>
          </p:nvPr>
        </p:nvSpPr>
        <p:spPr/>
        <p:txBody>
          <a:bodyPr/>
          <a:lstStyle/>
          <a:p>
            <a:r>
              <a:rPr lang="en-US" dirty="0"/>
              <a:t>Bring-Your-Own-Device IT Admin Experience in Teams Pro Management Portal</a:t>
            </a:r>
            <a:endParaRPr lang="de-DE" dirty="0"/>
          </a:p>
        </p:txBody>
      </p:sp>
      <p:pic>
        <p:nvPicPr>
          <p:cNvPr id="8194" name="Picture 2">
            <a:extLst>
              <a:ext uri="{FF2B5EF4-FFF2-40B4-BE49-F238E27FC236}">
                <a16:creationId xmlns:a16="http://schemas.microsoft.com/office/drawing/2014/main" id="{B39A795C-4B0E-9043-2B1C-F6C04AA3EC9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21704" y="1690688"/>
            <a:ext cx="9348592" cy="4634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454640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Ratings and Reviews for Apps on Teams now Available</a:t>
            </a:r>
          </a:p>
          <a:p>
            <a:r>
              <a:rPr lang="en-US" dirty="0"/>
              <a:t>Bring-Your-Own-Device IT Admin Experience in Teams Pro Management Portal</a:t>
            </a:r>
          </a:p>
          <a:p>
            <a:r>
              <a:rPr lang="en-US" dirty="0"/>
              <a:t>Advanced Collaboration Analytics (Premium)</a:t>
            </a:r>
          </a:p>
          <a:p>
            <a:r>
              <a:rPr lang="en-US" dirty="0"/>
              <a:t>Webinar Email feature updates -customize content and time to send reminders (Premium)</a:t>
            </a:r>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3191256"/>
            <a:ext cx="10515600" cy="557784"/>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239329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2B0509-F7A0-D935-5601-79EB8AA808FA}"/>
              </a:ext>
            </a:extLst>
          </p:cNvPr>
          <p:cNvSpPr>
            <a:spLocks noGrp="1"/>
          </p:cNvSpPr>
          <p:nvPr>
            <p:ph type="title"/>
          </p:nvPr>
        </p:nvSpPr>
        <p:spPr/>
        <p:txBody>
          <a:bodyPr/>
          <a:lstStyle/>
          <a:p>
            <a:r>
              <a:rPr lang="de-DE" dirty="0" err="1"/>
              <a:t>Advanced</a:t>
            </a:r>
            <a:r>
              <a:rPr lang="de-DE" dirty="0"/>
              <a:t> </a:t>
            </a:r>
            <a:r>
              <a:rPr lang="de-DE" dirty="0" err="1"/>
              <a:t>Collaboration</a:t>
            </a:r>
            <a:r>
              <a:rPr lang="de-DE" dirty="0"/>
              <a:t> Analytics</a:t>
            </a:r>
          </a:p>
        </p:txBody>
      </p:sp>
      <p:sp>
        <p:nvSpPr>
          <p:cNvPr id="3" name="Inhaltsplatzhalter 2">
            <a:extLst>
              <a:ext uri="{FF2B5EF4-FFF2-40B4-BE49-F238E27FC236}">
                <a16:creationId xmlns:a16="http://schemas.microsoft.com/office/drawing/2014/main" id="{CB929649-1F92-2E41-5BFB-8D885A041FFA}"/>
              </a:ext>
            </a:extLst>
          </p:cNvPr>
          <p:cNvSpPr>
            <a:spLocks noGrp="1"/>
          </p:cNvSpPr>
          <p:nvPr>
            <p:ph idx="1"/>
          </p:nvPr>
        </p:nvSpPr>
        <p:spPr/>
        <p:txBody>
          <a:bodyPr/>
          <a:lstStyle/>
          <a:p>
            <a:r>
              <a:rPr lang="de-DE" dirty="0"/>
              <a:t>Erweitere Auswertungsfunktion im TAC</a:t>
            </a:r>
          </a:p>
          <a:p>
            <a:pPr lvl="1"/>
            <a:r>
              <a:rPr lang="en-US" dirty="0"/>
              <a:t>List of inactive teams</a:t>
            </a:r>
          </a:p>
          <a:p>
            <a:pPr lvl="1"/>
            <a:r>
              <a:rPr lang="en-US" dirty="0"/>
              <a:t>List of inactive domains</a:t>
            </a:r>
          </a:p>
          <a:p>
            <a:pPr lvl="1"/>
            <a:r>
              <a:rPr lang="en-US" dirty="0"/>
              <a:t>List of users with most external collaboration</a:t>
            </a:r>
          </a:p>
          <a:p>
            <a:pPr lvl="1"/>
            <a:r>
              <a:rPr lang="en-US" dirty="0"/>
              <a:t>List of teams with most external collaboration</a:t>
            </a:r>
          </a:p>
          <a:p>
            <a:pPr lvl="1"/>
            <a:r>
              <a:rPr lang="en-US" dirty="0"/>
              <a:t>List of guests with most external collaboration</a:t>
            </a:r>
          </a:p>
          <a:p>
            <a:pPr lvl="1"/>
            <a:r>
              <a:rPr lang="en-US" dirty="0"/>
              <a:t>Channel breakdown by type</a:t>
            </a:r>
          </a:p>
          <a:p>
            <a:pPr lvl="1"/>
            <a:r>
              <a:rPr lang="en-US" dirty="0"/>
              <a:t>Team breakdown by user type</a:t>
            </a:r>
            <a:endParaRPr lang="de-DE" dirty="0"/>
          </a:p>
        </p:txBody>
      </p:sp>
    </p:spTree>
    <p:extLst>
      <p:ext uri="{BB962C8B-B14F-4D97-AF65-F5344CB8AC3E}">
        <p14:creationId xmlns:p14="http://schemas.microsoft.com/office/powerpoint/2010/main" val="293660608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E62727E-4CB7-6B7A-043F-0F2A1E056316}"/>
              </a:ext>
            </a:extLst>
          </p:cNvPr>
          <p:cNvSpPr>
            <a:spLocks noGrp="1"/>
          </p:cNvSpPr>
          <p:nvPr>
            <p:ph type="title"/>
          </p:nvPr>
        </p:nvSpPr>
        <p:spPr/>
        <p:txBody>
          <a:bodyPr/>
          <a:lstStyle/>
          <a:p>
            <a:r>
              <a:rPr lang="en-US" dirty="0"/>
              <a:t>Advanced Collaboration Analytics</a:t>
            </a:r>
            <a:endParaRPr lang="de-DE" dirty="0"/>
          </a:p>
        </p:txBody>
      </p:sp>
      <p:pic>
        <p:nvPicPr>
          <p:cNvPr id="8194" name="Picture 2">
            <a:extLst>
              <a:ext uri="{FF2B5EF4-FFF2-40B4-BE49-F238E27FC236}">
                <a16:creationId xmlns:a16="http://schemas.microsoft.com/office/drawing/2014/main" id="{B39A795C-4B0E-9043-2B1C-F6C04AA3EC9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2297056" y="1690688"/>
            <a:ext cx="7597888" cy="4634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716950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Ratings and Reviews for Apps on Teams now Available</a:t>
            </a:r>
          </a:p>
          <a:p>
            <a:r>
              <a:rPr lang="en-US" dirty="0"/>
              <a:t>Bring-Your-Own-Device IT Admin Experience in Teams Pro Management Portal</a:t>
            </a:r>
          </a:p>
          <a:p>
            <a:r>
              <a:rPr lang="en-US" dirty="0"/>
              <a:t>Advanced Collaboration Analytics (Premium)</a:t>
            </a:r>
          </a:p>
          <a:p>
            <a:r>
              <a:rPr lang="en-US" dirty="0"/>
              <a:t>Webinar Email feature updates -customize content and time to send reminders (Premium)</a:t>
            </a:r>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3648456"/>
            <a:ext cx="10515600" cy="978408"/>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3637642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DAD3CF-B18C-D2D6-C9D9-F46AA8A47C8D}"/>
              </a:ext>
            </a:extLst>
          </p:cNvPr>
          <p:cNvSpPr>
            <a:spLocks noGrp="1"/>
          </p:cNvSpPr>
          <p:nvPr>
            <p:ph type="title"/>
          </p:nvPr>
        </p:nvSpPr>
        <p:spPr/>
        <p:txBody>
          <a:bodyPr/>
          <a:lstStyle/>
          <a:p>
            <a:r>
              <a:rPr lang="en-US" dirty="0"/>
              <a:t>Webinar Email feature updates -customize content and time to send reminders</a:t>
            </a:r>
            <a:endParaRPr lang="de-DE" dirty="0"/>
          </a:p>
        </p:txBody>
      </p:sp>
      <p:sp>
        <p:nvSpPr>
          <p:cNvPr id="3" name="Inhaltsplatzhalter 2">
            <a:extLst>
              <a:ext uri="{FF2B5EF4-FFF2-40B4-BE49-F238E27FC236}">
                <a16:creationId xmlns:a16="http://schemas.microsoft.com/office/drawing/2014/main" id="{153203AF-64BE-7B9F-F92D-FECE6C5DEC7F}"/>
              </a:ext>
            </a:extLst>
          </p:cNvPr>
          <p:cNvSpPr>
            <a:spLocks noGrp="1"/>
          </p:cNvSpPr>
          <p:nvPr>
            <p:ph idx="1"/>
          </p:nvPr>
        </p:nvSpPr>
        <p:spPr/>
        <p:txBody>
          <a:bodyPr/>
          <a:lstStyle/>
          <a:p>
            <a:r>
              <a:rPr lang="en-US" dirty="0"/>
              <a:t>The content of the emails (i.e. all webinar related attendee emails) can be edited by the event organizers. This is reserved for Teams Premium licensed organizers. </a:t>
            </a:r>
          </a:p>
          <a:p>
            <a:r>
              <a:rPr lang="en-US" dirty="0"/>
              <a:t>Time to send reminder emails can be configured by the event organizers. </a:t>
            </a:r>
            <a:r>
              <a:rPr lang="en-US"/>
              <a:t>This is reserved for Teams Premium licensed organizers. </a:t>
            </a:r>
            <a:endParaRPr lang="de-DE"/>
          </a:p>
        </p:txBody>
      </p:sp>
    </p:spTree>
    <p:extLst>
      <p:ext uri="{BB962C8B-B14F-4D97-AF65-F5344CB8AC3E}">
        <p14:creationId xmlns:p14="http://schemas.microsoft.com/office/powerpoint/2010/main" val="14010764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F3A15CBD-C746-44A3-A4F0-4898CE2F02E6}"/>
              </a:ext>
            </a:extLst>
          </p:cNvPr>
          <p:cNvSpPr>
            <a:spLocks noGrp="1"/>
          </p:cNvSpPr>
          <p:nvPr>
            <p:ph type="title"/>
          </p:nvPr>
        </p:nvSpPr>
        <p:spPr>
          <a:xfrm>
            <a:off x="831849" y="1709738"/>
            <a:ext cx="10529257" cy="2852737"/>
          </a:xfrm>
        </p:spPr>
        <p:txBody>
          <a:bodyPr/>
          <a:lstStyle/>
          <a:p>
            <a:r>
              <a:rPr lang="de-DE" dirty="0"/>
              <a:t>Offene Teams Sprechstunde </a:t>
            </a:r>
          </a:p>
        </p:txBody>
      </p:sp>
      <p:sp>
        <p:nvSpPr>
          <p:cNvPr id="5" name="Textplatzhalter 4">
            <a:extLst>
              <a:ext uri="{FF2B5EF4-FFF2-40B4-BE49-F238E27FC236}">
                <a16:creationId xmlns:a16="http://schemas.microsoft.com/office/drawing/2014/main" id="{F3459BE7-1731-4733-A912-12977C68CFD6}"/>
              </a:ext>
            </a:extLst>
          </p:cNvPr>
          <p:cNvSpPr>
            <a:spLocks noGrp="1"/>
          </p:cNvSpPr>
          <p:nvPr>
            <p:ph type="body" idx="1"/>
          </p:nvPr>
        </p:nvSpPr>
        <p:spPr/>
        <p:txBody>
          <a:bodyPr/>
          <a:lstStyle/>
          <a:p>
            <a:endParaRPr lang="de-DE" i="1" dirty="0"/>
          </a:p>
        </p:txBody>
      </p:sp>
      <p:pic>
        <p:nvPicPr>
          <p:cNvPr id="2" name="Grafik 1" descr="Ein Bild, das Symbol, Logo, Grafiken, Screenshot enthält.&#10;&#10;Automatisch generierte Beschreibung">
            <a:extLst>
              <a:ext uri="{FF2B5EF4-FFF2-40B4-BE49-F238E27FC236}">
                <a16:creationId xmlns:a16="http://schemas.microsoft.com/office/drawing/2014/main" id="{8ABE994D-B550-9FCC-E7C1-ECE0C1DCC1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089" y="0"/>
            <a:ext cx="2438400" cy="2438400"/>
          </a:xfrm>
          <a:prstGeom prst="rect">
            <a:avLst/>
          </a:prstGeom>
        </p:spPr>
      </p:pic>
    </p:spTree>
    <p:extLst>
      <p:ext uri="{BB962C8B-B14F-4D97-AF65-F5344CB8AC3E}">
        <p14:creationId xmlns:p14="http://schemas.microsoft.com/office/powerpoint/2010/main" val="4212332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534D53D-CBAC-847B-0F05-996F728A734C}"/>
              </a:ext>
            </a:extLst>
          </p:cNvPr>
          <p:cNvSpPr>
            <a:spLocks noGrp="1"/>
          </p:cNvSpPr>
          <p:nvPr>
            <p:ph type="title"/>
          </p:nvPr>
        </p:nvSpPr>
        <p:spPr/>
        <p:txBody>
          <a:bodyPr/>
          <a:lstStyle/>
          <a:p>
            <a:r>
              <a:rPr lang="de-DE" dirty="0"/>
              <a:t>Themen</a:t>
            </a:r>
          </a:p>
        </p:txBody>
      </p:sp>
      <p:sp>
        <p:nvSpPr>
          <p:cNvPr id="5" name="Inhaltsplatzhalter 4">
            <a:extLst>
              <a:ext uri="{FF2B5EF4-FFF2-40B4-BE49-F238E27FC236}">
                <a16:creationId xmlns:a16="http://schemas.microsoft.com/office/drawing/2014/main" id="{EB3EE15C-31D3-4DE1-85CD-5E2D24291A49}"/>
              </a:ext>
            </a:extLst>
          </p:cNvPr>
          <p:cNvSpPr>
            <a:spLocks noGrp="1"/>
          </p:cNvSpPr>
          <p:nvPr>
            <p:ph idx="1"/>
          </p:nvPr>
        </p:nvSpPr>
        <p:spPr/>
        <p:txBody>
          <a:bodyPr/>
          <a:lstStyle/>
          <a:p>
            <a:r>
              <a:rPr lang="en-US" dirty="0"/>
              <a:t>Green screen feature in Teams Meetings [MC529415]</a:t>
            </a:r>
          </a:p>
          <a:p>
            <a:r>
              <a:rPr lang="en-US" dirty="0"/>
              <a:t>Avatars: Hardware Requirements and Service Plan Update [MC678301] </a:t>
            </a:r>
          </a:p>
          <a:p>
            <a:r>
              <a:rPr lang="en-US" dirty="0"/>
              <a:t>Introducing Microsoft Teams Town hall [MC678002]</a:t>
            </a:r>
            <a:endParaRPr lang="de-DE" dirty="0"/>
          </a:p>
        </p:txBody>
      </p:sp>
    </p:spTree>
    <p:extLst>
      <p:ext uri="{BB962C8B-B14F-4D97-AF65-F5344CB8AC3E}">
        <p14:creationId xmlns:p14="http://schemas.microsoft.com/office/powerpoint/2010/main" val="3009846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F3A15CBD-C746-44A3-A4F0-4898CE2F02E6}"/>
              </a:ext>
            </a:extLst>
          </p:cNvPr>
          <p:cNvSpPr>
            <a:spLocks noGrp="1"/>
          </p:cNvSpPr>
          <p:nvPr>
            <p:ph type="title"/>
          </p:nvPr>
        </p:nvSpPr>
        <p:spPr/>
        <p:txBody>
          <a:bodyPr/>
          <a:lstStyle/>
          <a:p>
            <a:r>
              <a:rPr lang="de-DE" sz="6000" b="1"/>
              <a:t>Content-Migration nach SharePoint und Teams</a:t>
            </a:r>
            <a:endParaRPr lang="de-DE" dirty="0"/>
          </a:p>
        </p:txBody>
      </p:sp>
      <p:sp>
        <p:nvSpPr>
          <p:cNvPr id="5" name="Textplatzhalter 4">
            <a:extLst>
              <a:ext uri="{FF2B5EF4-FFF2-40B4-BE49-F238E27FC236}">
                <a16:creationId xmlns:a16="http://schemas.microsoft.com/office/drawing/2014/main" id="{F3459BE7-1731-4733-A912-12977C68CFD6}"/>
              </a:ext>
            </a:extLst>
          </p:cNvPr>
          <p:cNvSpPr>
            <a:spLocks noGrp="1"/>
          </p:cNvSpPr>
          <p:nvPr>
            <p:ph type="body" idx="1"/>
          </p:nvPr>
        </p:nvSpPr>
        <p:spPr/>
        <p:txBody>
          <a:bodyPr/>
          <a:lstStyle/>
          <a:p>
            <a:r>
              <a:rPr lang="de-DE" i="1" dirty="0"/>
              <a:t>Hanna Kostrewa und Stefan </a:t>
            </a:r>
            <a:r>
              <a:rPr lang="de-DE" i="1" dirty="0" err="1"/>
              <a:t>Esch</a:t>
            </a:r>
            <a:endParaRPr lang="de-DE" i="1" dirty="0"/>
          </a:p>
        </p:txBody>
      </p:sp>
      <p:pic>
        <p:nvPicPr>
          <p:cNvPr id="2" name="Grafik 1" descr="Ein Bild, das Symbol, Logo, Grafiken, Screenshot enthält.&#10;&#10;Automatisch generierte Beschreibung">
            <a:extLst>
              <a:ext uri="{FF2B5EF4-FFF2-40B4-BE49-F238E27FC236}">
                <a16:creationId xmlns:a16="http://schemas.microsoft.com/office/drawing/2014/main" id="{2D4F20BA-957A-E4A8-5973-4395A78430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089" y="0"/>
            <a:ext cx="2438400" cy="2438400"/>
          </a:xfrm>
          <a:prstGeom prst="rect">
            <a:avLst/>
          </a:prstGeom>
        </p:spPr>
      </p:pic>
    </p:spTree>
    <p:extLst>
      <p:ext uri="{BB962C8B-B14F-4D97-AF65-F5344CB8AC3E}">
        <p14:creationId xmlns:p14="http://schemas.microsoft.com/office/powerpoint/2010/main" val="2698998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534D53D-CBAC-847B-0F05-996F728A734C}"/>
              </a:ext>
            </a:extLst>
          </p:cNvPr>
          <p:cNvSpPr>
            <a:spLocks noGrp="1"/>
          </p:cNvSpPr>
          <p:nvPr>
            <p:ph type="title"/>
          </p:nvPr>
        </p:nvSpPr>
        <p:spPr/>
        <p:txBody>
          <a:bodyPr/>
          <a:lstStyle/>
          <a:p>
            <a:r>
              <a:rPr lang="en-US" dirty="0"/>
              <a:t>Green screen feature in Teams Meetings </a:t>
            </a:r>
            <a:endParaRPr lang="de-DE" dirty="0"/>
          </a:p>
        </p:txBody>
      </p:sp>
      <p:pic>
        <p:nvPicPr>
          <p:cNvPr id="9" name="Grafik 8">
            <a:extLst>
              <a:ext uri="{FF2B5EF4-FFF2-40B4-BE49-F238E27FC236}">
                <a16:creationId xmlns:a16="http://schemas.microsoft.com/office/drawing/2014/main" id="{CE9D7C96-D56D-9727-4220-30C579E8537F}"/>
              </a:ext>
            </a:extLst>
          </p:cNvPr>
          <p:cNvPicPr>
            <a:picLocks noChangeAspect="1"/>
          </p:cNvPicPr>
          <p:nvPr/>
        </p:nvPicPr>
        <p:blipFill>
          <a:blip r:embed="rId2"/>
          <a:stretch>
            <a:fillRect/>
          </a:stretch>
        </p:blipFill>
        <p:spPr>
          <a:xfrm>
            <a:off x="1917050" y="1690688"/>
            <a:ext cx="8357900" cy="4683090"/>
          </a:xfrm>
          <a:prstGeom prst="rect">
            <a:avLst/>
          </a:prstGeom>
        </p:spPr>
      </p:pic>
    </p:spTree>
    <p:extLst>
      <p:ext uri="{BB962C8B-B14F-4D97-AF65-F5344CB8AC3E}">
        <p14:creationId xmlns:p14="http://schemas.microsoft.com/office/powerpoint/2010/main" val="9684515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534D53D-CBAC-847B-0F05-996F728A734C}"/>
              </a:ext>
            </a:extLst>
          </p:cNvPr>
          <p:cNvSpPr>
            <a:spLocks noGrp="1"/>
          </p:cNvSpPr>
          <p:nvPr>
            <p:ph type="title"/>
          </p:nvPr>
        </p:nvSpPr>
        <p:spPr/>
        <p:txBody>
          <a:bodyPr/>
          <a:lstStyle/>
          <a:p>
            <a:r>
              <a:rPr lang="en-US" dirty="0"/>
              <a:t>Green screen feature in Teams Meetings </a:t>
            </a:r>
            <a:endParaRPr lang="de-DE" dirty="0"/>
          </a:p>
        </p:txBody>
      </p:sp>
      <p:sp>
        <p:nvSpPr>
          <p:cNvPr id="2" name="Inhaltsplatzhalter 4">
            <a:extLst>
              <a:ext uri="{FF2B5EF4-FFF2-40B4-BE49-F238E27FC236}">
                <a16:creationId xmlns:a16="http://schemas.microsoft.com/office/drawing/2014/main" id="{F7DA8F79-2538-0C43-E35E-FD481A70A55B}"/>
              </a:ext>
            </a:extLst>
          </p:cNvPr>
          <p:cNvSpPr>
            <a:spLocks noGrp="1"/>
          </p:cNvSpPr>
          <p:nvPr>
            <p:ph idx="1"/>
          </p:nvPr>
        </p:nvSpPr>
        <p:spPr>
          <a:xfrm>
            <a:off x="838200" y="1825625"/>
            <a:ext cx="10515600" cy="4351338"/>
          </a:xfrm>
        </p:spPr>
        <p:txBody>
          <a:bodyPr>
            <a:noAutofit/>
          </a:bodyPr>
          <a:lstStyle/>
          <a:p>
            <a:r>
              <a:rPr lang="de-DE" sz="2400"/>
              <a:t>Unterstützung für Windows und macOS Geräte mit Intel (und AMD) Chipsets </a:t>
            </a:r>
          </a:p>
          <a:p>
            <a:pPr lvl="1"/>
            <a:r>
              <a:rPr lang="de-DE" sz="2000"/>
              <a:t>Mac M1/M2 are not supported.</a:t>
            </a:r>
          </a:p>
          <a:p>
            <a:r>
              <a:rPr lang="de-DE" sz="2400"/>
              <a:t>Automatische Deaktivierung von Background Blur und Together Mode</a:t>
            </a:r>
          </a:p>
          <a:p>
            <a:r>
              <a:rPr lang="de-DE" sz="2400"/>
              <a:t>Kompatibel mit Presenter Modi Standout, Side-by-Side, Reporter und PowerPoint Live Standout und ausgewechseltem Hintergrund (JPEG/PNG).</a:t>
            </a:r>
          </a:p>
          <a:p>
            <a:r>
              <a:rPr lang="de-DE" sz="2400"/>
              <a:t>Transparente und durchscheinende Objekte führen zu keinem guten Ergebnis</a:t>
            </a:r>
          </a:p>
          <a:p>
            <a:r>
              <a:rPr lang="de-DE" sz="2400"/>
              <a:t>Zu dünne Objekte werden nicht korrekt erkannt</a:t>
            </a:r>
            <a:endParaRPr lang="de-DE" sz="2400" dirty="0"/>
          </a:p>
        </p:txBody>
      </p:sp>
    </p:spTree>
    <p:extLst>
      <p:ext uri="{BB962C8B-B14F-4D97-AF65-F5344CB8AC3E}">
        <p14:creationId xmlns:p14="http://schemas.microsoft.com/office/powerpoint/2010/main" val="237390363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534D53D-CBAC-847B-0F05-996F728A734C}"/>
              </a:ext>
            </a:extLst>
          </p:cNvPr>
          <p:cNvSpPr>
            <a:spLocks noGrp="1"/>
          </p:cNvSpPr>
          <p:nvPr>
            <p:ph type="title"/>
          </p:nvPr>
        </p:nvSpPr>
        <p:spPr/>
        <p:txBody>
          <a:bodyPr/>
          <a:lstStyle/>
          <a:p>
            <a:r>
              <a:rPr lang="en-US" dirty="0"/>
              <a:t>Avatars: Hardware Requirements and Service Plan Update </a:t>
            </a:r>
            <a:endParaRPr lang="de-DE" dirty="0"/>
          </a:p>
        </p:txBody>
      </p:sp>
      <p:sp>
        <p:nvSpPr>
          <p:cNvPr id="5" name="Inhaltsplatzhalter 4">
            <a:extLst>
              <a:ext uri="{FF2B5EF4-FFF2-40B4-BE49-F238E27FC236}">
                <a16:creationId xmlns:a16="http://schemas.microsoft.com/office/drawing/2014/main" id="{EB3EE15C-31D3-4DE1-85CD-5E2D24291A49}"/>
              </a:ext>
            </a:extLst>
          </p:cNvPr>
          <p:cNvSpPr>
            <a:spLocks noGrp="1"/>
          </p:cNvSpPr>
          <p:nvPr>
            <p:ph idx="1"/>
          </p:nvPr>
        </p:nvSpPr>
        <p:spPr/>
        <p:txBody>
          <a:bodyPr>
            <a:noAutofit/>
          </a:bodyPr>
          <a:lstStyle/>
          <a:p>
            <a:pPr marL="0" indent="0">
              <a:buNone/>
            </a:pPr>
            <a:r>
              <a:rPr lang="en-US" sz="1600" dirty="0"/>
              <a:t>Updated October 4, 2023: IT admins have been previously informed that there will be a new service plan in your Microsoft 365 or Office 365 licenses: MESH_AVATARS_FOR_TEAMS.</a:t>
            </a:r>
            <a:br>
              <a:rPr lang="en-US" sz="1600" dirty="0"/>
            </a:br>
            <a:r>
              <a:rPr lang="en-US" sz="1600" dirty="0"/>
              <a:t>You may have also noticed that there is an additional service plan MESH_AVATARS_ADDITIONAL_FOR_TEAMS that was published alongside the MESH_AVATARS_FOR_TEAMS service plan.</a:t>
            </a:r>
            <a:br>
              <a:rPr lang="en-US" sz="1600" dirty="0"/>
            </a:br>
            <a:r>
              <a:rPr lang="en-US" sz="1600" dirty="0"/>
              <a:t>Here are the intended uses of the two service plans:</a:t>
            </a:r>
          </a:p>
          <a:p>
            <a:pPr marL="0" indent="0">
              <a:buNone/>
            </a:pPr>
            <a:br>
              <a:rPr lang="en-US" sz="1600" dirty="0"/>
            </a:br>
            <a:r>
              <a:rPr lang="en-US" sz="1600" b="1" dirty="0"/>
              <a:t>MESH_AVATARS_FOR_TEAMS </a:t>
            </a:r>
            <a:r>
              <a:rPr lang="en-US" sz="1600" dirty="0"/>
              <a:t>– this service plan enables or disables Mesh Avatars for Teams.</a:t>
            </a:r>
            <a:br>
              <a:rPr lang="en-US" sz="1600" dirty="0"/>
            </a:br>
            <a:r>
              <a:rPr lang="en-US" sz="1600" b="1" dirty="0"/>
              <a:t>MESH_AVATARS_ADDITIONAL_FOR_TEAMS </a:t>
            </a:r>
            <a:r>
              <a:rPr lang="en-US" sz="1600" dirty="0"/>
              <a:t>– this service plan is intended to differentiate any features that may be released separately between commercial and non-commercial customers due to different legal requirements</a:t>
            </a:r>
            <a:br>
              <a:rPr lang="en-US" sz="1600" dirty="0"/>
            </a:br>
            <a:r>
              <a:rPr lang="en-US" sz="1600" dirty="0"/>
              <a:t>Please be mindful that there are currently no features in MESH_AVATARS_ADDITIONAL_FOR_TEAMS at this time so there are no actions needed. We will let you know when any features are added to this service plan.</a:t>
            </a:r>
            <a:br>
              <a:rPr lang="en-US" sz="1600" dirty="0"/>
            </a:br>
            <a:endParaRPr lang="en-US" sz="1600" dirty="0"/>
          </a:p>
          <a:p>
            <a:pPr marL="0" indent="0">
              <a:buNone/>
            </a:pPr>
            <a:r>
              <a:rPr lang="en-US" sz="1600" dirty="0"/>
              <a:t>----Original message below---</a:t>
            </a:r>
            <a:br>
              <a:rPr lang="en-US" sz="1600" dirty="0"/>
            </a:br>
            <a:r>
              <a:rPr lang="en-US" sz="1600" dirty="0"/>
              <a:t>You will soon see a new service plan associated with your Microsoft 365 or Office 365 license: Avatars for Teams (MESH_AVATARS_FOR_TEAMS). </a:t>
            </a:r>
            <a:br>
              <a:rPr lang="en-US" sz="1600" dirty="0"/>
            </a:br>
            <a:r>
              <a:rPr lang="en-US" sz="1600" dirty="0"/>
              <a:t>Avatars for Teams app is also updating the minimum hardware requirements to access this feature. The new minimum specified hardware requirement is a two core CPU with 6gb RAM. Users will not be able to utilize this feature if it does not meet the minimum hardware spec. This change is due to be able to provide users with a better Avatars for Teams experience. </a:t>
            </a:r>
            <a:endParaRPr lang="de-DE" sz="1600" dirty="0"/>
          </a:p>
        </p:txBody>
      </p:sp>
    </p:spTree>
    <p:extLst>
      <p:ext uri="{BB962C8B-B14F-4D97-AF65-F5344CB8AC3E}">
        <p14:creationId xmlns:p14="http://schemas.microsoft.com/office/powerpoint/2010/main" val="121593622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8CE960-92EA-9363-AD0B-76B0D9A800A3}"/>
              </a:ext>
            </a:extLst>
          </p:cNvPr>
          <p:cNvSpPr>
            <a:spLocks noGrp="1"/>
          </p:cNvSpPr>
          <p:nvPr>
            <p:ph type="title"/>
          </p:nvPr>
        </p:nvSpPr>
        <p:spPr/>
        <p:txBody>
          <a:bodyPr/>
          <a:lstStyle/>
          <a:p>
            <a:r>
              <a:rPr lang="en-US" dirty="0"/>
              <a:t>Introducing Microsoft Teams Town hall </a:t>
            </a:r>
            <a:endParaRPr lang="de-DE" dirty="0"/>
          </a:p>
        </p:txBody>
      </p:sp>
      <p:sp>
        <p:nvSpPr>
          <p:cNvPr id="3" name="Inhaltsplatzhalter 2">
            <a:extLst>
              <a:ext uri="{FF2B5EF4-FFF2-40B4-BE49-F238E27FC236}">
                <a16:creationId xmlns:a16="http://schemas.microsoft.com/office/drawing/2014/main" id="{562391BD-AE54-4F1C-879F-315F7F52F759}"/>
              </a:ext>
            </a:extLst>
          </p:cNvPr>
          <p:cNvSpPr>
            <a:spLocks noGrp="1"/>
          </p:cNvSpPr>
          <p:nvPr>
            <p:ph idx="1"/>
          </p:nvPr>
        </p:nvSpPr>
        <p:spPr/>
        <p:txBody>
          <a:bodyPr/>
          <a:lstStyle/>
          <a:p>
            <a:r>
              <a:rPr lang="de-DE" dirty="0"/>
              <a:t>Ersatz für Live Events</a:t>
            </a:r>
          </a:p>
          <a:p>
            <a:endParaRPr lang="de-DE" dirty="0"/>
          </a:p>
        </p:txBody>
      </p:sp>
    </p:spTree>
    <p:extLst>
      <p:ext uri="{BB962C8B-B14F-4D97-AF65-F5344CB8AC3E}">
        <p14:creationId xmlns:p14="http://schemas.microsoft.com/office/powerpoint/2010/main" val="27589393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9876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Microsoft Teams – Links </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515600" cy="5032375"/>
          </a:xfrm>
        </p:spPr>
        <p:txBody>
          <a:bodyPr>
            <a:normAutofit/>
          </a:bodyPr>
          <a:lstStyle/>
          <a:p>
            <a:r>
              <a:rPr lang="en-US" dirty="0">
                <a:hlinkClick r:id="rId3"/>
              </a:rPr>
              <a:t>What’s New in Microsoft Teams | September 2023</a:t>
            </a:r>
            <a:endParaRPr lang="en-US" dirty="0"/>
          </a:p>
          <a:p>
            <a:endParaRPr lang="en-US" dirty="0"/>
          </a:p>
          <a:p>
            <a:r>
              <a:rPr lang="en-US" dirty="0">
                <a:hlinkClick r:id="rId4"/>
              </a:rPr>
              <a:t>What’s New in Microsoft Teams for Education | October 2023</a:t>
            </a:r>
            <a:endParaRPr lang="en-US" dirty="0"/>
          </a:p>
          <a:p>
            <a:endParaRPr lang="de-DE" dirty="0">
              <a:hlinkClick r:id="rId5"/>
            </a:endParaRPr>
          </a:p>
          <a:p>
            <a:r>
              <a:rPr lang="de-DE" dirty="0">
                <a:hlinkClick r:id="rId5"/>
              </a:rPr>
              <a:t>Microsoft Teams Blog</a:t>
            </a:r>
            <a:r>
              <a:rPr lang="de-DE" dirty="0"/>
              <a:t> </a:t>
            </a:r>
          </a:p>
          <a:p>
            <a:r>
              <a:rPr lang="de-DE" dirty="0">
                <a:hlinkClick r:id="rId6"/>
              </a:rPr>
              <a:t>Microsoft Teams Community Blog</a:t>
            </a:r>
            <a:r>
              <a:rPr lang="de-DE" dirty="0"/>
              <a:t> </a:t>
            </a:r>
          </a:p>
          <a:p>
            <a:r>
              <a:rPr lang="de-DE" dirty="0">
                <a:hlinkClick r:id="rId7"/>
              </a:rPr>
              <a:t>Microsoft Teams Feedback Portal</a:t>
            </a:r>
            <a:endParaRPr lang="de-DE" dirty="0"/>
          </a:p>
          <a:p>
            <a:endParaRPr lang="de-DE" dirty="0"/>
          </a:p>
          <a:p>
            <a:endParaRPr lang="de-DE" dirty="0"/>
          </a:p>
        </p:txBody>
      </p:sp>
    </p:spTree>
    <p:extLst>
      <p:ext uri="{BB962C8B-B14F-4D97-AF65-F5344CB8AC3E}">
        <p14:creationId xmlns:p14="http://schemas.microsoft.com/office/powerpoint/2010/main" val="2721051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BC4CCBB5-60CA-4E97-BDCF-05CC269D742F}"/>
              </a:ext>
            </a:extLst>
          </p:cNvPr>
          <p:cNvSpPr>
            <a:spLocks noGrp="1"/>
          </p:cNvSpPr>
          <p:nvPr>
            <p:ph type="title"/>
          </p:nvPr>
        </p:nvSpPr>
        <p:spPr/>
        <p:txBody>
          <a:bodyPr/>
          <a:lstStyle/>
          <a:p>
            <a:endParaRPr lang="de-DE"/>
          </a:p>
        </p:txBody>
      </p:sp>
      <p:pic>
        <p:nvPicPr>
          <p:cNvPr id="6" name="Grafik 5">
            <a:extLst>
              <a:ext uri="{FF2B5EF4-FFF2-40B4-BE49-F238E27FC236}">
                <a16:creationId xmlns:a16="http://schemas.microsoft.com/office/drawing/2014/main" id="{69AC6E8A-ECCC-4CAE-8164-9F3F87C4F2D6}"/>
              </a:ext>
            </a:extLst>
          </p:cNvPr>
          <p:cNvPicPr>
            <a:picLocks noChangeAspect="1"/>
          </p:cNvPicPr>
          <p:nvPr/>
        </p:nvPicPr>
        <p:blipFill>
          <a:blip r:embed="rId2"/>
          <a:stretch>
            <a:fillRect/>
          </a:stretch>
        </p:blipFill>
        <p:spPr>
          <a:xfrm>
            <a:off x="0" y="390526"/>
            <a:ext cx="12192000" cy="6102349"/>
          </a:xfrm>
          <a:prstGeom prst="rect">
            <a:avLst/>
          </a:prstGeom>
          <a:ln>
            <a:noFill/>
          </a:ln>
          <a:effectLst>
            <a:outerShdw blurRad="190500" algn="tl" rotWithShape="0">
              <a:srgbClr val="000000">
                <a:alpha val="70000"/>
              </a:srgbClr>
            </a:outerShdw>
          </a:effectLst>
        </p:spPr>
      </p:pic>
      <p:sp>
        <p:nvSpPr>
          <p:cNvPr id="7" name="Rechteck 6">
            <a:extLst>
              <a:ext uri="{FF2B5EF4-FFF2-40B4-BE49-F238E27FC236}">
                <a16:creationId xmlns:a16="http://schemas.microsoft.com/office/drawing/2014/main" id="{AC653FA9-1AB6-49AB-B58A-9D12BB4A4394}"/>
              </a:ext>
            </a:extLst>
          </p:cNvPr>
          <p:cNvSpPr/>
          <p:nvPr/>
        </p:nvSpPr>
        <p:spPr>
          <a:xfrm>
            <a:off x="622300" y="3336130"/>
            <a:ext cx="11125200" cy="2988469"/>
          </a:xfrm>
          <a:prstGeom prst="rect">
            <a:avLst/>
          </a:prstGeom>
          <a:noFill/>
          <a:ln w="190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endParaRPr lang="de-DE" dirty="0">
              <a:latin typeface="Aptos" panose="020B0004020202020204" pitchFamily="34" charset="0"/>
            </a:endParaRPr>
          </a:p>
        </p:txBody>
      </p:sp>
      <p:sp>
        <p:nvSpPr>
          <p:cNvPr id="11" name="Textfeld 10">
            <a:extLst>
              <a:ext uri="{FF2B5EF4-FFF2-40B4-BE49-F238E27FC236}">
                <a16:creationId xmlns:a16="http://schemas.microsoft.com/office/drawing/2014/main" id="{DBAF0D92-4F5B-43B3-858F-5EAB5EC10308}"/>
              </a:ext>
            </a:extLst>
          </p:cNvPr>
          <p:cNvSpPr txBox="1"/>
          <p:nvPr/>
        </p:nvSpPr>
        <p:spPr>
          <a:xfrm>
            <a:off x="3511550" y="-4207"/>
            <a:ext cx="4768850" cy="646331"/>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r>
              <a:rPr lang="de-DE" dirty="0">
                <a:latin typeface="Aptos" panose="020B0004020202020204" pitchFamily="34" charset="0"/>
                <a:hlinkClick r:id="rId3"/>
              </a:rPr>
              <a:t>https://admin.microsoft.com/#/MessageCenter</a:t>
            </a:r>
            <a:r>
              <a:rPr lang="de-DE" dirty="0">
                <a:latin typeface="Aptos" panose="020B0004020202020204" pitchFamily="34" charset="0"/>
              </a:rPr>
              <a:t> </a:t>
            </a:r>
          </a:p>
        </p:txBody>
      </p:sp>
    </p:spTree>
    <p:extLst>
      <p:ext uri="{BB962C8B-B14F-4D97-AF65-F5344CB8AC3E}">
        <p14:creationId xmlns:p14="http://schemas.microsoft.com/office/powerpoint/2010/main" val="2395924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F3A15CBD-C746-44A3-A4F0-4898CE2F02E6}"/>
              </a:ext>
            </a:extLst>
          </p:cNvPr>
          <p:cNvSpPr>
            <a:spLocks noGrp="1"/>
          </p:cNvSpPr>
          <p:nvPr>
            <p:ph type="title"/>
          </p:nvPr>
        </p:nvSpPr>
        <p:spPr/>
        <p:txBody>
          <a:bodyPr/>
          <a:lstStyle/>
          <a:p>
            <a:r>
              <a:rPr lang="de-DE"/>
              <a:t>Organisatorisches </a:t>
            </a:r>
          </a:p>
        </p:txBody>
      </p:sp>
      <p:sp>
        <p:nvSpPr>
          <p:cNvPr id="5" name="Textplatzhalter 4">
            <a:extLst>
              <a:ext uri="{FF2B5EF4-FFF2-40B4-BE49-F238E27FC236}">
                <a16:creationId xmlns:a16="http://schemas.microsoft.com/office/drawing/2014/main" id="{F3459BE7-1731-4733-A912-12977C68CFD6}"/>
              </a:ext>
            </a:extLst>
          </p:cNvPr>
          <p:cNvSpPr>
            <a:spLocks noGrp="1"/>
          </p:cNvSpPr>
          <p:nvPr>
            <p:ph type="body" idx="1"/>
          </p:nvPr>
        </p:nvSpPr>
        <p:spPr/>
        <p:txBody>
          <a:bodyPr/>
          <a:lstStyle/>
          <a:p>
            <a:endParaRPr lang="de-DE"/>
          </a:p>
        </p:txBody>
      </p:sp>
    </p:spTree>
    <p:extLst>
      <p:ext uri="{BB962C8B-B14F-4D97-AF65-F5344CB8AC3E}">
        <p14:creationId xmlns:p14="http://schemas.microsoft.com/office/powerpoint/2010/main" val="281496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2F18A5-78AE-405E-A20F-1654BB71EEC0}"/>
              </a:ext>
            </a:extLst>
          </p:cNvPr>
          <p:cNvSpPr>
            <a:spLocks noGrp="1"/>
          </p:cNvSpPr>
          <p:nvPr>
            <p:ph type="title"/>
          </p:nvPr>
        </p:nvSpPr>
        <p:spPr/>
        <p:txBody>
          <a:bodyPr/>
          <a:lstStyle/>
          <a:p>
            <a:r>
              <a:rPr lang="en-US"/>
              <a:t>Teams Community Blog</a:t>
            </a:r>
          </a:p>
        </p:txBody>
      </p:sp>
      <p:sp>
        <p:nvSpPr>
          <p:cNvPr id="3" name="Inhaltsplatzhalter 2">
            <a:extLst>
              <a:ext uri="{FF2B5EF4-FFF2-40B4-BE49-F238E27FC236}">
                <a16:creationId xmlns:a16="http://schemas.microsoft.com/office/drawing/2014/main" id="{0EF91AAF-22C9-467A-BB36-B9178FCA5D28}"/>
              </a:ext>
            </a:extLst>
          </p:cNvPr>
          <p:cNvSpPr>
            <a:spLocks noGrp="1"/>
          </p:cNvSpPr>
          <p:nvPr>
            <p:ph idx="1"/>
          </p:nvPr>
        </p:nvSpPr>
        <p:spPr>
          <a:xfrm>
            <a:off x="838200" y="5827062"/>
            <a:ext cx="10515600" cy="466445"/>
          </a:xfrm>
        </p:spPr>
        <p:txBody>
          <a:bodyPr>
            <a:normAutofit/>
          </a:bodyPr>
          <a:lstStyle/>
          <a:p>
            <a:pPr marL="0" indent="0">
              <a:buNone/>
            </a:pPr>
            <a:r>
              <a:rPr lang="en-US" dirty="0">
                <a:sym typeface="Wingdings" panose="05000000000000000000" pitchFamily="2" charset="2"/>
              </a:rPr>
              <a:t></a:t>
            </a:r>
            <a:r>
              <a:rPr lang="en-US" u="sng" dirty="0">
                <a:solidFill>
                  <a:srgbClr val="0563C1"/>
                </a:solidFill>
                <a:effectLst/>
                <a:ea typeface="Calibri" panose="020F0502020204030204" pitchFamily="34" charset="0"/>
                <a:hlinkClick r:id="rId3"/>
              </a:rPr>
              <a:t>https://aka.ms/</a:t>
            </a:r>
            <a:r>
              <a:rPr lang="en-US" u="sng" dirty="0" err="1">
                <a:solidFill>
                  <a:srgbClr val="0563C1"/>
                </a:solidFill>
                <a:effectLst/>
                <a:ea typeface="Calibri" panose="020F0502020204030204" pitchFamily="34" charset="0"/>
                <a:hlinkClick r:id="rId3"/>
              </a:rPr>
              <a:t>TeamsCommunityBlogger</a:t>
            </a:r>
            <a:endParaRPr lang="en-US" dirty="0"/>
          </a:p>
        </p:txBody>
      </p:sp>
      <p:pic>
        <p:nvPicPr>
          <p:cNvPr id="5" name="Grafik 4">
            <a:extLst>
              <a:ext uri="{FF2B5EF4-FFF2-40B4-BE49-F238E27FC236}">
                <a16:creationId xmlns:a16="http://schemas.microsoft.com/office/drawing/2014/main" id="{4E13512F-C714-449D-B13D-17EE7BDEB782}"/>
              </a:ext>
            </a:extLst>
          </p:cNvPr>
          <p:cNvPicPr>
            <a:picLocks noChangeAspect="1"/>
          </p:cNvPicPr>
          <p:nvPr/>
        </p:nvPicPr>
        <p:blipFill>
          <a:blip r:embed="rId4"/>
          <a:stretch>
            <a:fillRect/>
          </a:stretch>
        </p:blipFill>
        <p:spPr>
          <a:xfrm>
            <a:off x="2582497" y="1415846"/>
            <a:ext cx="7027006" cy="429467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923837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B30EE16-D925-417D-89E0-E0CFDA2C14B8}"/>
              </a:ext>
            </a:extLst>
          </p:cNvPr>
          <p:cNvSpPr>
            <a:spLocks noGrp="1"/>
          </p:cNvSpPr>
          <p:nvPr>
            <p:ph type="title"/>
          </p:nvPr>
        </p:nvSpPr>
        <p:spPr/>
        <p:txBody>
          <a:bodyPr/>
          <a:lstStyle/>
          <a:p>
            <a:r>
              <a:rPr lang="de-DE"/>
              <a:t>Organisatorisches</a:t>
            </a:r>
          </a:p>
        </p:txBody>
      </p:sp>
      <p:sp>
        <p:nvSpPr>
          <p:cNvPr id="5" name="Inhaltsplatzhalter 4">
            <a:extLst>
              <a:ext uri="{FF2B5EF4-FFF2-40B4-BE49-F238E27FC236}">
                <a16:creationId xmlns:a16="http://schemas.microsoft.com/office/drawing/2014/main" id="{E4B561B6-C0CF-43D8-8BC7-F305B96C47C8}"/>
              </a:ext>
            </a:extLst>
          </p:cNvPr>
          <p:cNvSpPr>
            <a:spLocks noGrp="1"/>
          </p:cNvSpPr>
          <p:nvPr>
            <p:ph idx="1"/>
          </p:nvPr>
        </p:nvSpPr>
        <p:spPr/>
        <p:txBody>
          <a:bodyPr>
            <a:normAutofit/>
          </a:bodyPr>
          <a:lstStyle/>
          <a:p>
            <a:r>
              <a:rPr lang="de-DE"/>
              <a:t>Microsoft Community Tenant für User Groups</a:t>
            </a:r>
          </a:p>
          <a:p>
            <a:pPr lvl="1"/>
            <a:r>
              <a:rPr lang="de-DE"/>
              <a:t>Teilnahme als Microsoft 365 Gast</a:t>
            </a:r>
          </a:p>
          <a:p>
            <a:pPr lvl="1"/>
            <a:r>
              <a:rPr lang="de-DE"/>
              <a:t>Anmeldung: </a:t>
            </a:r>
            <a:r>
              <a:rPr lang="de-DE">
                <a:hlinkClick r:id="rId2"/>
              </a:rPr>
              <a:t>https://go.granikos.eu/TeamsUGForm</a:t>
            </a:r>
            <a:r>
              <a:rPr lang="de-DE"/>
              <a:t> </a:t>
            </a:r>
            <a:br>
              <a:rPr lang="de-DE"/>
            </a:br>
            <a:endParaRPr lang="de-DE"/>
          </a:p>
          <a:p>
            <a:r>
              <a:rPr lang="de-DE">
                <a:sym typeface="Wingdings" panose="05000000000000000000" pitchFamily="2" charset="2"/>
              </a:rPr>
              <a:t>Teams Meeting Teilnahme-Link</a:t>
            </a:r>
          </a:p>
          <a:p>
            <a:pPr lvl="1"/>
            <a:r>
              <a:rPr lang="de-DE">
                <a:sym typeface="Wingdings" panose="05000000000000000000" pitchFamily="2" charset="2"/>
                <a:hlinkClick r:id="rId3"/>
              </a:rPr>
              <a:t>https://teamsusergroup.berlin/meetup</a:t>
            </a:r>
            <a:r>
              <a:rPr lang="de-DE">
                <a:sym typeface="Wingdings" panose="05000000000000000000" pitchFamily="2" charset="2"/>
              </a:rPr>
              <a:t> </a:t>
            </a:r>
          </a:p>
          <a:p>
            <a:endParaRPr lang="de-DE">
              <a:sym typeface="Wingdings" panose="05000000000000000000" pitchFamily="2" charset="2"/>
            </a:endParaRPr>
          </a:p>
          <a:p>
            <a:r>
              <a:rPr lang="de-DE">
                <a:sym typeface="Wingdings" panose="05000000000000000000" pitchFamily="2" charset="2"/>
              </a:rPr>
              <a:t>Teams User Group Aufzeichnungen</a:t>
            </a:r>
          </a:p>
          <a:p>
            <a:pPr lvl="1"/>
            <a:r>
              <a:rPr lang="de-DE">
                <a:sym typeface="Wingdings" panose="05000000000000000000" pitchFamily="2" charset="2"/>
                <a:hlinkClick r:id="rId4"/>
              </a:rPr>
              <a:t>https://teamsusergroup.berlin/video</a:t>
            </a:r>
            <a:r>
              <a:rPr lang="de-DE">
                <a:sym typeface="Wingdings" panose="05000000000000000000" pitchFamily="2" charset="2"/>
              </a:rPr>
              <a:t> </a:t>
            </a:r>
            <a:br>
              <a:rPr lang="de-DE">
                <a:sym typeface="Wingdings" panose="05000000000000000000" pitchFamily="2" charset="2"/>
              </a:rPr>
            </a:br>
            <a:endParaRPr lang="de-DE">
              <a:sym typeface="Wingdings" panose="05000000000000000000" pitchFamily="2" charset="2"/>
            </a:endParaRPr>
          </a:p>
        </p:txBody>
      </p:sp>
      <p:pic>
        <p:nvPicPr>
          <p:cNvPr id="2050" name="Picture 2">
            <a:extLst>
              <a:ext uri="{FF2B5EF4-FFF2-40B4-BE49-F238E27FC236}">
                <a16:creationId xmlns:a16="http://schemas.microsoft.com/office/drawing/2014/main" id="{DE9DABCD-CA25-2C8D-141D-F825F843D22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21969" y="4480069"/>
            <a:ext cx="1831831" cy="1831831"/>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descr="Ein Bild, das Symbol, Logo, Grafiken, Screenshot enthält.&#10;&#10;Automatisch generierte Beschreibung">
            <a:extLst>
              <a:ext uri="{FF2B5EF4-FFF2-40B4-BE49-F238E27FC236}">
                <a16:creationId xmlns:a16="http://schemas.microsoft.com/office/drawing/2014/main" id="{1D717E81-E6CC-BDE9-9A9C-D2158447BB7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218684" y="1158731"/>
            <a:ext cx="2438400" cy="2438400"/>
          </a:xfrm>
          <a:prstGeom prst="rect">
            <a:avLst/>
          </a:prstGeom>
        </p:spPr>
      </p:pic>
    </p:spTree>
    <p:extLst>
      <p:ext uri="{BB962C8B-B14F-4D97-AF65-F5344CB8AC3E}">
        <p14:creationId xmlns:p14="http://schemas.microsoft.com/office/powerpoint/2010/main" val="2791634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F3A15CBD-C746-44A3-A4F0-4898CE2F02E6}"/>
              </a:ext>
            </a:extLst>
          </p:cNvPr>
          <p:cNvSpPr>
            <a:spLocks noGrp="1"/>
          </p:cNvSpPr>
          <p:nvPr>
            <p:ph type="title"/>
          </p:nvPr>
        </p:nvSpPr>
        <p:spPr/>
        <p:txBody>
          <a:bodyPr>
            <a:normAutofit/>
          </a:bodyPr>
          <a:lstStyle/>
          <a:p>
            <a:r>
              <a:rPr lang="de-DE"/>
              <a:t>Neues in Microsoft Teams</a:t>
            </a:r>
            <a:br>
              <a:rPr lang="de-DE"/>
            </a:br>
            <a:r>
              <a:rPr lang="de-DE"/>
              <a:t>Ankündigungen &amp; Rollouts </a:t>
            </a:r>
          </a:p>
        </p:txBody>
      </p:sp>
      <p:sp>
        <p:nvSpPr>
          <p:cNvPr id="5" name="Textplatzhalter 4">
            <a:extLst>
              <a:ext uri="{FF2B5EF4-FFF2-40B4-BE49-F238E27FC236}">
                <a16:creationId xmlns:a16="http://schemas.microsoft.com/office/drawing/2014/main" id="{F3459BE7-1731-4733-A912-12977C68CFD6}"/>
              </a:ext>
            </a:extLst>
          </p:cNvPr>
          <p:cNvSpPr>
            <a:spLocks noGrp="1"/>
          </p:cNvSpPr>
          <p:nvPr>
            <p:ph type="body" idx="1"/>
          </p:nvPr>
        </p:nvSpPr>
        <p:spPr/>
        <p:txBody>
          <a:bodyPr/>
          <a:lstStyle/>
          <a:p>
            <a:r>
              <a:rPr lang="de-DE" dirty="0"/>
              <a:t>Meetup #27 </a:t>
            </a:r>
            <a:br>
              <a:rPr lang="de-DE" dirty="0"/>
            </a:br>
            <a:br>
              <a:rPr lang="de-DE" dirty="0"/>
            </a:br>
            <a:r>
              <a:rPr lang="de-DE" dirty="0"/>
              <a:t>Thomas Stensitzki</a:t>
            </a:r>
          </a:p>
        </p:txBody>
      </p:sp>
      <p:sp>
        <p:nvSpPr>
          <p:cNvPr id="2" name="Textfeld 1">
            <a:extLst>
              <a:ext uri="{FF2B5EF4-FFF2-40B4-BE49-F238E27FC236}">
                <a16:creationId xmlns:a16="http://schemas.microsoft.com/office/drawing/2014/main" id="{A0204B4B-AC00-4A91-B83C-FDA5915CC9E5}"/>
              </a:ext>
            </a:extLst>
          </p:cNvPr>
          <p:cNvSpPr txBox="1"/>
          <p:nvPr/>
        </p:nvSpPr>
        <p:spPr>
          <a:xfrm rot="20570296">
            <a:off x="6143557" y="3927744"/>
            <a:ext cx="5135671" cy="1323439"/>
          </a:xfrm>
          <a:prstGeom prst="rect">
            <a:avLst/>
          </a:prstGeom>
          <a:noFill/>
        </p:spPr>
        <p:txBody>
          <a:bodyPr wrap="square" rtlCol="0">
            <a:spAutoFit/>
          </a:bodyPr>
          <a:lstStyle/>
          <a:p>
            <a:pPr algn="ctr"/>
            <a:r>
              <a:rPr lang="en-US" sz="8000" b="1"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Aptos" panose="020B0004020202020204" pitchFamily="34" charset="0"/>
              </a:rPr>
              <a:t>Updates</a:t>
            </a:r>
          </a:p>
        </p:txBody>
      </p:sp>
      <p:pic>
        <p:nvPicPr>
          <p:cNvPr id="3" name="Grafik 2" descr="Ein Bild, das Symbol, Logo, Grafiken, Screenshot enthält.&#10;&#10;Automatisch generierte Beschreibung">
            <a:extLst>
              <a:ext uri="{FF2B5EF4-FFF2-40B4-BE49-F238E27FC236}">
                <a16:creationId xmlns:a16="http://schemas.microsoft.com/office/drawing/2014/main" id="{9CE283F6-AC42-BB12-8269-56DA34520B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089" y="0"/>
            <a:ext cx="2438400" cy="2438400"/>
          </a:xfrm>
          <a:prstGeom prst="rect">
            <a:avLst/>
          </a:prstGeom>
        </p:spPr>
      </p:pic>
    </p:spTree>
    <p:extLst>
      <p:ext uri="{BB962C8B-B14F-4D97-AF65-F5344CB8AC3E}">
        <p14:creationId xmlns:p14="http://schemas.microsoft.com/office/powerpoint/2010/main" val="4007670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4AB0BF-6550-48A4-8221-F9AE6DCEF311}"/>
              </a:ext>
            </a:extLst>
          </p:cNvPr>
          <p:cNvSpPr>
            <a:spLocks noGrp="1"/>
          </p:cNvSpPr>
          <p:nvPr>
            <p:ph type="title"/>
          </p:nvPr>
        </p:nvSpPr>
        <p:spPr/>
        <p:txBody>
          <a:bodyPr/>
          <a:lstStyle/>
          <a:p>
            <a:r>
              <a:rPr lang="de-DE"/>
              <a:t>Vielen Dank für eure Teilnahme!</a:t>
            </a:r>
          </a:p>
        </p:txBody>
      </p:sp>
      <p:sp>
        <p:nvSpPr>
          <p:cNvPr id="3" name="Inhaltsplatzhalter 2">
            <a:extLst>
              <a:ext uri="{FF2B5EF4-FFF2-40B4-BE49-F238E27FC236}">
                <a16:creationId xmlns:a16="http://schemas.microsoft.com/office/drawing/2014/main" id="{3A5A44EB-7FB9-473A-8ED3-C49DDD2E65AB}"/>
              </a:ext>
            </a:extLst>
          </p:cNvPr>
          <p:cNvSpPr>
            <a:spLocks noGrp="1"/>
          </p:cNvSpPr>
          <p:nvPr>
            <p:ph idx="1"/>
          </p:nvPr>
        </p:nvSpPr>
        <p:spPr/>
        <p:txBody>
          <a:bodyPr vert="horz" lIns="91440" tIns="45720" rIns="91440" bIns="45720" rtlCol="0" anchor="t">
            <a:noAutofit/>
          </a:bodyPr>
          <a:lstStyle/>
          <a:p>
            <a:pPr marL="0" indent="0">
              <a:buNone/>
            </a:pPr>
            <a:r>
              <a:rPr lang="de-DE" sz="3200" dirty="0"/>
              <a:t>Das nächste Meetup:</a:t>
            </a:r>
          </a:p>
          <a:p>
            <a:pPr marL="0" indent="0">
              <a:buNone/>
            </a:pPr>
            <a:r>
              <a:rPr lang="de-DE" sz="3200" dirty="0">
                <a:sym typeface="Wingdings" panose="05000000000000000000" pitchFamily="2" charset="2"/>
              </a:rPr>
              <a:t>	</a:t>
            </a:r>
            <a:r>
              <a:rPr lang="de-DE" sz="3200" dirty="0"/>
              <a:t> </a:t>
            </a:r>
            <a:r>
              <a:rPr lang="de-DE" sz="3200" b="1" dirty="0"/>
              <a:t>7. Dezember 2023</a:t>
            </a:r>
            <a:endParaRPr lang="de-DE" sz="3200" b="1" dirty="0">
              <a:cs typeface="Calibri"/>
            </a:endParaRPr>
          </a:p>
          <a:p>
            <a:pPr marL="0" indent="0">
              <a:buNone/>
            </a:pPr>
            <a:br>
              <a:rPr lang="en-US" sz="3200" dirty="0">
                <a:hlinkClick r:id="rId3"/>
              </a:rPr>
            </a:br>
            <a:r>
              <a:rPr lang="en-US" sz="3200" dirty="0">
                <a:hlinkClick r:id="rId4"/>
              </a:rPr>
              <a:t>https://TeamsUserGroup.Berlin/register</a:t>
            </a:r>
            <a:r>
              <a:rPr lang="en-US" sz="3200" dirty="0"/>
              <a:t> </a:t>
            </a:r>
            <a:br>
              <a:rPr lang="de-DE" sz="3200" dirty="0"/>
            </a:br>
            <a:endParaRPr lang="de-DE" sz="3200" dirty="0"/>
          </a:p>
          <a:p>
            <a:pPr marL="0" indent="0">
              <a:buNone/>
            </a:pPr>
            <a:r>
              <a:rPr lang="de-DE" sz="3200" dirty="0"/>
              <a:t>Spread the Word!</a:t>
            </a:r>
          </a:p>
          <a:p>
            <a:pPr marL="0" indent="0">
              <a:buNone/>
            </a:pPr>
            <a:r>
              <a:rPr lang="de-DE" sz="3200" dirty="0"/>
              <a:t>#TeamsUGBerlin</a:t>
            </a:r>
          </a:p>
          <a:p>
            <a:pPr marL="0" indent="0">
              <a:buNone/>
            </a:pPr>
            <a:br>
              <a:rPr lang="de-DE" sz="2400" i="1" dirty="0"/>
            </a:br>
            <a:r>
              <a:rPr lang="de-DE" sz="2000" i="1" dirty="0"/>
              <a:t>Aufzeichnungen unserer Meetups sind im Community Team und bei YouTube verfügbar.</a:t>
            </a:r>
          </a:p>
          <a:p>
            <a:pPr marL="0" indent="0">
              <a:buNone/>
            </a:pPr>
            <a:endParaRPr lang="de-DE" sz="3200" dirty="0"/>
          </a:p>
          <a:p>
            <a:pPr marL="0" indent="0">
              <a:buNone/>
            </a:pPr>
            <a:endParaRPr lang="de-DE" sz="3200" dirty="0"/>
          </a:p>
          <a:p>
            <a:pPr marL="0" indent="0">
              <a:buNone/>
            </a:pPr>
            <a:endParaRPr lang="en-US" sz="3200" dirty="0"/>
          </a:p>
          <a:p>
            <a:pPr marL="0" indent="0">
              <a:buNone/>
            </a:pPr>
            <a:endParaRPr lang="de-DE" sz="3200" dirty="0"/>
          </a:p>
        </p:txBody>
      </p:sp>
      <p:pic>
        <p:nvPicPr>
          <p:cNvPr id="1026" name="Picture 2">
            <a:extLst>
              <a:ext uri="{FF2B5EF4-FFF2-40B4-BE49-F238E27FC236}">
                <a16:creationId xmlns:a16="http://schemas.microsoft.com/office/drawing/2014/main" id="{F7C90142-B1AA-1344-2DB1-054C9B2C6BC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28451" y="2722418"/>
            <a:ext cx="1925349" cy="19253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2792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F3A15CBD-C746-44A3-A4F0-4898CE2F02E6}"/>
              </a:ext>
            </a:extLst>
          </p:cNvPr>
          <p:cNvSpPr>
            <a:spLocks noGrp="1"/>
          </p:cNvSpPr>
          <p:nvPr>
            <p:ph type="title"/>
          </p:nvPr>
        </p:nvSpPr>
        <p:spPr/>
        <p:txBody>
          <a:bodyPr/>
          <a:lstStyle/>
          <a:p>
            <a:r>
              <a:rPr lang="de-DE"/>
              <a:t>Offene Diskussion </a:t>
            </a:r>
          </a:p>
        </p:txBody>
      </p:sp>
      <p:sp>
        <p:nvSpPr>
          <p:cNvPr id="5" name="Textplatzhalter 4">
            <a:extLst>
              <a:ext uri="{FF2B5EF4-FFF2-40B4-BE49-F238E27FC236}">
                <a16:creationId xmlns:a16="http://schemas.microsoft.com/office/drawing/2014/main" id="{F3459BE7-1731-4733-A912-12977C68CFD6}"/>
              </a:ext>
            </a:extLst>
          </p:cNvPr>
          <p:cNvSpPr>
            <a:spLocks noGrp="1"/>
          </p:cNvSpPr>
          <p:nvPr>
            <p:ph type="body" idx="1"/>
          </p:nvPr>
        </p:nvSpPr>
        <p:spPr/>
        <p:txBody>
          <a:bodyPr/>
          <a:lstStyle/>
          <a:p>
            <a:endParaRPr lang="de-DE"/>
          </a:p>
        </p:txBody>
      </p:sp>
    </p:spTree>
    <p:extLst>
      <p:ext uri="{BB962C8B-B14F-4D97-AF65-F5344CB8AC3E}">
        <p14:creationId xmlns:p14="http://schemas.microsoft.com/office/powerpoint/2010/main" val="192833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1204864" cy="5032375"/>
          </a:xfrm>
        </p:spPr>
        <p:txBody>
          <a:bodyPr>
            <a:normAutofit/>
          </a:bodyPr>
          <a:lstStyle/>
          <a:p>
            <a:r>
              <a:rPr lang="en-US" dirty="0"/>
              <a:t>New Microsoft Teams rollout schedule, new controls, and direct deployment</a:t>
            </a:r>
          </a:p>
          <a:p>
            <a:r>
              <a:rPr lang="en-US" dirty="0"/>
              <a:t>Addition of Chat button in Missed Call Activity</a:t>
            </a:r>
          </a:p>
          <a:p>
            <a:r>
              <a:rPr lang="en-US" dirty="0"/>
              <a:t>New Call Shortcuts in New Teams</a:t>
            </a:r>
          </a:p>
          <a:p>
            <a:r>
              <a:rPr lang="de-DE" dirty="0"/>
              <a:t>Engagement Information in Teams </a:t>
            </a:r>
            <a:r>
              <a:rPr lang="de-DE" dirty="0" err="1"/>
              <a:t>Attendance</a:t>
            </a:r>
            <a:r>
              <a:rPr lang="de-DE" dirty="0"/>
              <a:t> Report (Premium)</a:t>
            </a:r>
          </a:p>
          <a:p>
            <a:r>
              <a:rPr lang="en-US" dirty="0"/>
              <a:t>Emojis, GIFs and Stickers Unified in One Picker</a:t>
            </a:r>
          </a:p>
          <a:p>
            <a:r>
              <a:rPr lang="en-US" dirty="0"/>
              <a:t>Loop components in Channels and Loop Embed Mode in Teams</a:t>
            </a:r>
          </a:p>
          <a:p>
            <a:r>
              <a:rPr lang="de-DE" dirty="0"/>
              <a:t>Intelligent </a:t>
            </a:r>
            <a:r>
              <a:rPr lang="de-DE" dirty="0" err="1"/>
              <a:t>Recap</a:t>
            </a:r>
            <a:r>
              <a:rPr lang="de-DE" dirty="0"/>
              <a:t> Support for Additional </a:t>
            </a:r>
            <a:r>
              <a:rPr lang="de-DE" dirty="0" err="1"/>
              <a:t>Languages</a:t>
            </a:r>
            <a:r>
              <a:rPr lang="de-DE" dirty="0"/>
              <a:t> (Premium)</a:t>
            </a:r>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1825982"/>
            <a:ext cx="10515600" cy="867114"/>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2227487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A7D926-B298-6830-885B-70FEA34BC6A0}"/>
              </a:ext>
            </a:extLst>
          </p:cNvPr>
          <p:cNvSpPr>
            <a:spLocks noGrp="1"/>
          </p:cNvSpPr>
          <p:nvPr>
            <p:ph type="title"/>
          </p:nvPr>
        </p:nvSpPr>
        <p:spPr/>
        <p:txBody>
          <a:bodyPr/>
          <a:lstStyle/>
          <a:p>
            <a:r>
              <a:rPr lang="en-US" dirty="0"/>
              <a:t>New Microsoft Teams rollout schedule, new controls, and direct deployment</a:t>
            </a:r>
            <a:endParaRPr lang="de-DE" dirty="0"/>
          </a:p>
        </p:txBody>
      </p:sp>
      <p:sp>
        <p:nvSpPr>
          <p:cNvPr id="3" name="Inhaltsplatzhalter 2">
            <a:extLst>
              <a:ext uri="{FF2B5EF4-FFF2-40B4-BE49-F238E27FC236}">
                <a16:creationId xmlns:a16="http://schemas.microsoft.com/office/drawing/2014/main" id="{B0A1ED5E-E6A0-63A2-B868-1905B5100128}"/>
              </a:ext>
            </a:extLst>
          </p:cNvPr>
          <p:cNvSpPr>
            <a:spLocks noGrp="1"/>
          </p:cNvSpPr>
          <p:nvPr>
            <p:ph idx="1"/>
          </p:nvPr>
        </p:nvSpPr>
        <p:spPr/>
        <p:txBody>
          <a:bodyPr/>
          <a:lstStyle/>
          <a:p>
            <a:r>
              <a:rPr lang="de-DE" dirty="0">
                <a:hlinkClick r:id="rId2"/>
              </a:rPr>
              <a:t>Neuer Teams-Zeitplan für Kunden</a:t>
            </a:r>
            <a:endParaRPr lang="de-DE" dirty="0"/>
          </a:p>
          <a:p>
            <a:endParaRPr lang="de-DE" dirty="0"/>
          </a:p>
        </p:txBody>
      </p:sp>
      <p:graphicFrame>
        <p:nvGraphicFramePr>
          <p:cNvPr id="4" name="Tabelle 3">
            <a:extLst>
              <a:ext uri="{FF2B5EF4-FFF2-40B4-BE49-F238E27FC236}">
                <a16:creationId xmlns:a16="http://schemas.microsoft.com/office/drawing/2014/main" id="{922610F1-359B-96CE-BFA6-0181A99DA140}"/>
              </a:ext>
            </a:extLst>
          </p:cNvPr>
          <p:cNvGraphicFramePr>
            <a:graphicFrameLocks noGrp="1"/>
          </p:cNvGraphicFramePr>
          <p:nvPr>
            <p:extLst>
              <p:ext uri="{D42A27DB-BD31-4B8C-83A1-F6EECF244321}">
                <p14:modId xmlns:p14="http://schemas.microsoft.com/office/powerpoint/2010/main" val="448033607"/>
              </p:ext>
            </p:extLst>
          </p:nvPr>
        </p:nvGraphicFramePr>
        <p:xfrm>
          <a:off x="1085849" y="2378075"/>
          <a:ext cx="9611378" cy="3566160"/>
        </p:xfrm>
        <a:graphic>
          <a:graphicData uri="http://schemas.openxmlformats.org/drawingml/2006/table">
            <a:tbl>
              <a:tblPr firstRow="1" bandRow="1">
                <a:tableStyleId>{BC89EF96-8CEA-46FF-86C4-4CE0E7609802}</a:tableStyleId>
              </a:tblPr>
              <a:tblGrid>
                <a:gridCol w="7056069">
                  <a:extLst>
                    <a:ext uri="{9D8B030D-6E8A-4147-A177-3AD203B41FA5}">
                      <a16:colId xmlns:a16="http://schemas.microsoft.com/office/drawing/2014/main" val="1821630831"/>
                    </a:ext>
                  </a:extLst>
                </a:gridCol>
                <a:gridCol w="2555309">
                  <a:extLst>
                    <a:ext uri="{9D8B030D-6E8A-4147-A177-3AD203B41FA5}">
                      <a16:colId xmlns:a16="http://schemas.microsoft.com/office/drawing/2014/main" val="2507339293"/>
                    </a:ext>
                  </a:extLst>
                </a:gridCol>
              </a:tblGrid>
              <a:tr h="0">
                <a:tc>
                  <a:txBody>
                    <a:bodyPr/>
                    <a:lstStyle/>
                    <a:p>
                      <a:pPr algn="l" fontAlgn="t"/>
                      <a:r>
                        <a:rPr lang="de-DE" dirty="0">
                          <a:effectLst/>
                          <a:latin typeface="Aptos" panose="020B0004020202020204" pitchFamily="34" charset="0"/>
                        </a:rPr>
                        <a:t>Updatekanal</a:t>
                      </a:r>
                    </a:p>
                  </a:txBody>
                  <a:tcPr/>
                </a:tc>
                <a:tc>
                  <a:txBody>
                    <a:bodyPr/>
                    <a:lstStyle/>
                    <a:p>
                      <a:pPr algn="l" fontAlgn="t"/>
                      <a:r>
                        <a:rPr lang="de-DE" dirty="0">
                          <a:effectLst/>
                          <a:latin typeface="Aptos" panose="020B0004020202020204" pitchFamily="34" charset="0"/>
                        </a:rPr>
                        <a:t>Datum</a:t>
                      </a:r>
                    </a:p>
                  </a:txBody>
                  <a:tcPr/>
                </a:tc>
                <a:extLst>
                  <a:ext uri="{0D108BD9-81ED-4DB2-BD59-A6C34878D82A}">
                    <a16:rowId xmlns:a16="http://schemas.microsoft.com/office/drawing/2014/main" val="3274504639"/>
                  </a:ext>
                </a:extLst>
              </a:tr>
              <a:tr h="0">
                <a:tc>
                  <a:txBody>
                    <a:bodyPr/>
                    <a:lstStyle/>
                    <a:p>
                      <a:pPr algn="l" fontAlgn="t"/>
                      <a:r>
                        <a:rPr lang="de-DE" dirty="0">
                          <a:effectLst/>
                          <a:latin typeface="Aptos" panose="020B0004020202020204" pitchFamily="34" charset="0"/>
                        </a:rPr>
                        <a:t>Öffentliches Vorschauprogramm</a:t>
                      </a:r>
                    </a:p>
                  </a:txBody>
                  <a:tcPr/>
                </a:tc>
                <a:tc>
                  <a:txBody>
                    <a:bodyPr/>
                    <a:lstStyle/>
                    <a:p>
                      <a:pPr algn="l" fontAlgn="t"/>
                      <a:r>
                        <a:rPr lang="de-DE" dirty="0">
                          <a:effectLst/>
                          <a:latin typeface="Aptos" panose="020B0004020202020204" pitchFamily="34" charset="0"/>
                        </a:rPr>
                        <a:t>Verfügbar</a:t>
                      </a:r>
                    </a:p>
                  </a:txBody>
                  <a:tcPr/>
                </a:tc>
                <a:extLst>
                  <a:ext uri="{0D108BD9-81ED-4DB2-BD59-A6C34878D82A}">
                    <a16:rowId xmlns:a16="http://schemas.microsoft.com/office/drawing/2014/main" val="155225073"/>
                  </a:ext>
                </a:extLst>
              </a:tr>
              <a:tr h="0">
                <a:tc>
                  <a:txBody>
                    <a:bodyPr/>
                    <a:lstStyle/>
                    <a:p>
                      <a:pPr algn="l" fontAlgn="t"/>
                      <a:r>
                        <a:rPr lang="de-DE" dirty="0">
                          <a:effectLst/>
                          <a:latin typeface="Aptos" panose="020B0004020202020204" pitchFamily="34" charset="0"/>
                        </a:rPr>
                        <a:t>Gezieltes </a:t>
                      </a:r>
                      <a:r>
                        <a:rPr lang="de-DE" dirty="0" err="1">
                          <a:effectLst/>
                        </a:rPr>
                        <a:t>Releaseprogramm</a:t>
                      </a:r>
                      <a:endParaRPr lang="de-DE" dirty="0">
                        <a:effectLst/>
                      </a:endParaRPr>
                    </a:p>
                  </a:txBody>
                  <a:tcPr/>
                </a:tc>
                <a:tc>
                  <a:txBody>
                    <a:bodyPr/>
                    <a:lstStyle/>
                    <a:p>
                      <a:pPr algn="l" fontAlgn="t"/>
                      <a:r>
                        <a:rPr lang="de-DE" dirty="0">
                          <a:effectLst/>
                          <a:latin typeface="Aptos" panose="020B0004020202020204" pitchFamily="34" charset="0"/>
                        </a:rPr>
                        <a:t>Verfügbar</a:t>
                      </a:r>
                    </a:p>
                  </a:txBody>
                  <a:tcPr/>
                </a:tc>
                <a:extLst>
                  <a:ext uri="{0D108BD9-81ED-4DB2-BD59-A6C34878D82A}">
                    <a16:rowId xmlns:a16="http://schemas.microsoft.com/office/drawing/2014/main" val="3069883530"/>
                  </a:ext>
                </a:extLst>
              </a:tr>
              <a:tr h="0">
                <a:tc>
                  <a:txBody>
                    <a:bodyPr/>
                    <a:lstStyle/>
                    <a:p>
                      <a:pPr algn="l" fontAlgn="t"/>
                      <a:r>
                        <a:rPr lang="de-DE" dirty="0">
                          <a:effectLst/>
                          <a:latin typeface="Aptos" panose="020B0004020202020204" pitchFamily="34" charset="0"/>
                        </a:rPr>
                        <a:t>Aktueller Kanal</a:t>
                      </a:r>
                    </a:p>
                  </a:txBody>
                  <a:tcPr/>
                </a:tc>
                <a:tc>
                  <a:txBody>
                    <a:bodyPr/>
                    <a:lstStyle/>
                    <a:p>
                      <a:pPr algn="l" fontAlgn="t"/>
                      <a:r>
                        <a:rPr lang="de-DE" dirty="0">
                          <a:effectLst/>
                          <a:latin typeface="Aptos" panose="020B0004020202020204" pitchFamily="34" charset="0"/>
                        </a:rPr>
                        <a:t>Im Rollout</a:t>
                      </a:r>
                    </a:p>
                  </a:txBody>
                  <a:tcPr/>
                </a:tc>
                <a:extLst>
                  <a:ext uri="{0D108BD9-81ED-4DB2-BD59-A6C34878D82A}">
                    <a16:rowId xmlns:a16="http://schemas.microsoft.com/office/drawing/2014/main" val="2857981514"/>
                  </a:ext>
                </a:extLst>
              </a:tr>
              <a:tr h="0">
                <a:tc>
                  <a:txBody>
                    <a:bodyPr/>
                    <a:lstStyle/>
                    <a:p>
                      <a:pPr algn="l" fontAlgn="t"/>
                      <a:r>
                        <a:rPr lang="en-US" dirty="0">
                          <a:effectLst/>
                          <a:latin typeface="Aptos" panose="020B0004020202020204" pitchFamily="34" charset="0"/>
                        </a:rPr>
                        <a:t>Government Cloud (GCC, GCC High) Preview</a:t>
                      </a:r>
                    </a:p>
                  </a:txBody>
                  <a:tcPr/>
                </a:tc>
                <a:tc>
                  <a:txBody>
                    <a:bodyPr/>
                    <a:lstStyle/>
                    <a:p>
                      <a:pPr algn="l" fontAlgn="t"/>
                      <a:r>
                        <a:rPr lang="de-DE" dirty="0">
                          <a:effectLst/>
                          <a:latin typeface="Aptos" panose="020B0004020202020204" pitchFamily="34" charset="0"/>
                        </a:rPr>
                        <a:t>Oktober 2023</a:t>
                      </a:r>
                    </a:p>
                  </a:txBody>
                  <a:tcPr/>
                </a:tc>
                <a:extLst>
                  <a:ext uri="{0D108BD9-81ED-4DB2-BD59-A6C34878D82A}">
                    <a16:rowId xmlns:a16="http://schemas.microsoft.com/office/drawing/2014/main" val="4139745887"/>
                  </a:ext>
                </a:extLst>
              </a:tr>
              <a:tr h="0">
                <a:tc>
                  <a:txBody>
                    <a:bodyPr/>
                    <a:lstStyle/>
                    <a:p>
                      <a:pPr algn="l" fontAlgn="t"/>
                      <a:r>
                        <a:rPr lang="de-DE" dirty="0">
                          <a:effectLst/>
                          <a:latin typeface="Aptos" panose="020B0004020202020204" pitchFamily="34" charset="0"/>
                        </a:rPr>
                        <a:t>Government Cloud (</a:t>
                      </a:r>
                      <a:r>
                        <a:rPr lang="de-DE" dirty="0" err="1">
                          <a:effectLst/>
                          <a:latin typeface="Aptos" panose="020B0004020202020204" pitchFamily="34" charset="0"/>
                        </a:rPr>
                        <a:t>DoD</a:t>
                      </a:r>
                      <a:r>
                        <a:rPr lang="de-DE" dirty="0">
                          <a:effectLst/>
                          <a:latin typeface="Aptos" panose="020B0004020202020204" pitchFamily="34" charset="0"/>
                        </a:rPr>
                        <a:t>) Preview</a:t>
                      </a:r>
                    </a:p>
                  </a:txBody>
                  <a:tcPr/>
                </a:tc>
                <a:tc>
                  <a:txBody>
                    <a:bodyPr/>
                    <a:lstStyle/>
                    <a:p>
                      <a:pPr algn="l" fontAlgn="t"/>
                      <a:r>
                        <a:rPr lang="de-DE" dirty="0">
                          <a:effectLst/>
                          <a:latin typeface="Aptos" panose="020B0004020202020204" pitchFamily="34" charset="0"/>
                        </a:rPr>
                        <a:t>Mitte Oktober 2023</a:t>
                      </a:r>
                    </a:p>
                  </a:txBody>
                  <a:tcPr/>
                </a:tc>
                <a:extLst>
                  <a:ext uri="{0D108BD9-81ED-4DB2-BD59-A6C34878D82A}">
                    <a16:rowId xmlns:a16="http://schemas.microsoft.com/office/drawing/2014/main" val="53576825"/>
                  </a:ext>
                </a:extLst>
              </a:tr>
              <a:tr h="0">
                <a:tc>
                  <a:txBody>
                    <a:bodyPr/>
                    <a:lstStyle/>
                    <a:p>
                      <a:pPr algn="l" fontAlgn="t"/>
                      <a:r>
                        <a:rPr lang="de-DE" dirty="0">
                          <a:effectLst/>
                          <a:latin typeface="Aptos" panose="020B0004020202020204" pitchFamily="34" charset="0"/>
                        </a:rPr>
                        <a:t>Monatlicher Enterprise-Kanal</a:t>
                      </a:r>
                    </a:p>
                  </a:txBody>
                  <a:tcPr/>
                </a:tc>
                <a:tc>
                  <a:txBody>
                    <a:bodyPr/>
                    <a:lstStyle/>
                    <a:p>
                      <a:pPr algn="l" fontAlgn="t"/>
                      <a:r>
                        <a:rPr lang="de-DE" dirty="0">
                          <a:effectLst/>
                          <a:latin typeface="Aptos" panose="020B0004020202020204" pitchFamily="34" charset="0"/>
                        </a:rPr>
                        <a:t>Ende Oktober 2023</a:t>
                      </a:r>
                    </a:p>
                  </a:txBody>
                  <a:tcPr/>
                </a:tc>
                <a:extLst>
                  <a:ext uri="{0D108BD9-81ED-4DB2-BD59-A6C34878D82A}">
                    <a16:rowId xmlns:a16="http://schemas.microsoft.com/office/drawing/2014/main" val="3667629535"/>
                  </a:ext>
                </a:extLst>
              </a:tr>
              <a:tr h="0">
                <a:tc>
                  <a:txBody>
                    <a:bodyPr/>
                    <a:lstStyle/>
                    <a:p>
                      <a:pPr algn="l" fontAlgn="t"/>
                      <a:r>
                        <a:rPr lang="de-DE" dirty="0">
                          <a:effectLst/>
                          <a:latin typeface="Aptos" panose="020B0004020202020204" pitchFamily="34" charset="0"/>
                        </a:rPr>
                        <a:t>Semi-Annual Enterprise-Kanal (Vorschau)</a:t>
                      </a:r>
                    </a:p>
                  </a:txBody>
                  <a:tcPr/>
                </a:tc>
                <a:tc>
                  <a:txBody>
                    <a:bodyPr/>
                    <a:lstStyle/>
                    <a:p>
                      <a:pPr algn="l" fontAlgn="t"/>
                      <a:r>
                        <a:rPr lang="de-DE" dirty="0">
                          <a:effectLst/>
                          <a:latin typeface="Aptos" panose="020B0004020202020204" pitchFamily="34" charset="0"/>
                        </a:rPr>
                        <a:t>Oktober 2023</a:t>
                      </a:r>
                    </a:p>
                  </a:txBody>
                  <a:tcPr/>
                </a:tc>
                <a:extLst>
                  <a:ext uri="{0D108BD9-81ED-4DB2-BD59-A6C34878D82A}">
                    <a16:rowId xmlns:a16="http://schemas.microsoft.com/office/drawing/2014/main" val="495486033"/>
                  </a:ext>
                </a:extLst>
              </a:tr>
              <a:tr h="0">
                <a:tc>
                  <a:txBody>
                    <a:bodyPr/>
                    <a:lstStyle/>
                    <a:p>
                      <a:pPr algn="l" fontAlgn="t"/>
                      <a:r>
                        <a:rPr lang="de-DE" dirty="0">
                          <a:effectLst/>
                          <a:latin typeface="Aptos" panose="020B0004020202020204" pitchFamily="34" charset="0"/>
                        </a:rPr>
                        <a:t>Semi-Annual Enterprise Channel, Halbjährlicher Erweiterter Kanal, LTSC und verbleibende Kanäle</a:t>
                      </a:r>
                    </a:p>
                  </a:txBody>
                  <a:tcPr/>
                </a:tc>
                <a:tc>
                  <a:txBody>
                    <a:bodyPr/>
                    <a:lstStyle/>
                    <a:p>
                      <a:pPr algn="l" fontAlgn="t"/>
                      <a:r>
                        <a:rPr lang="de-DE" dirty="0">
                          <a:effectLst/>
                          <a:latin typeface="Aptos" panose="020B0004020202020204" pitchFamily="34" charset="0"/>
                        </a:rPr>
                        <a:t>November 2023</a:t>
                      </a:r>
                    </a:p>
                  </a:txBody>
                  <a:tcPr/>
                </a:tc>
                <a:extLst>
                  <a:ext uri="{0D108BD9-81ED-4DB2-BD59-A6C34878D82A}">
                    <a16:rowId xmlns:a16="http://schemas.microsoft.com/office/drawing/2014/main" val="2458316998"/>
                  </a:ext>
                </a:extLst>
              </a:tr>
            </a:tbl>
          </a:graphicData>
        </a:graphic>
      </p:graphicFrame>
    </p:spTree>
    <p:extLst>
      <p:ext uri="{BB962C8B-B14F-4D97-AF65-F5344CB8AC3E}">
        <p14:creationId xmlns:p14="http://schemas.microsoft.com/office/powerpoint/2010/main" val="28890312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1204864" cy="5032375"/>
          </a:xfrm>
        </p:spPr>
        <p:txBody>
          <a:bodyPr>
            <a:normAutofit/>
          </a:bodyPr>
          <a:lstStyle/>
          <a:p>
            <a:r>
              <a:rPr lang="en-US" dirty="0"/>
              <a:t>New Microsoft Teams rollout schedule, new controls, and direct deployment</a:t>
            </a:r>
          </a:p>
          <a:p>
            <a:r>
              <a:rPr lang="en-US" dirty="0"/>
              <a:t>Addition of Chat button in Missed Call Activity</a:t>
            </a:r>
          </a:p>
          <a:p>
            <a:r>
              <a:rPr lang="en-US" dirty="0"/>
              <a:t>New Call Shortcuts in New Teams</a:t>
            </a:r>
          </a:p>
          <a:p>
            <a:r>
              <a:rPr lang="de-DE" dirty="0"/>
              <a:t>Engagement Information in Teams </a:t>
            </a:r>
            <a:r>
              <a:rPr lang="de-DE" dirty="0" err="1"/>
              <a:t>Attendance</a:t>
            </a:r>
            <a:r>
              <a:rPr lang="de-DE" dirty="0"/>
              <a:t> Report (Premium)</a:t>
            </a:r>
          </a:p>
          <a:p>
            <a:r>
              <a:rPr lang="en-US" dirty="0"/>
              <a:t>Emojis, GIFs and Stickers Unified in One Picker</a:t>
            </a:r>
          </a:p>
          <a:p>
            <a:r>
              <a:rPr lang="en-US" dirty="0"/>
              <a:t>Loop components in Channels and Loop Embed Mode in Teams</a:t>
            </a:r>
          </a:p>
          <a:p>
            <a:r>
              <a:rPr lang="de-DE" dirty="0"/>
              <a:t>Intelligent </a:t>
            </a:r>
            <a:r>
              <a:rPr lang="de-DE" dirty="0" err="1"/>
              <a:t>Recap</a:t>
            </a:r>
            <a:r>
              <a:rPr lang="de-DE" dirty="0"/>
              <a:t> Support for Additional </a:t>
            </a:r>
            <a:r>
              <a:rPr lang="de-DE" dirty="0" err="1"/>
              <a:t>Languages</a:t>
            </a:r>
            <a:r>
              <a:rPr lang="de-DE" dirty="0"/>
              <a:t> (Premium)</a:t>
            </a:r>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2679192"/>
            <a:ext cx="10515600" cy="539496"/>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2052217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CEE4DF4C-6EA3-48DB-B011-5E7B8CB61FE6}" vid="{C1E9B41B-5C35-4701-ADD4-B631732FF831}"/>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0a061b1-bdb8-4664-ad9e-272301b45d52">
      <Terms xmlns="http://schemas.microsoft.com/office/infopath/2007/PartnerControls"/>
    </lcf76f155ced4ddcb4097134ff3c332f>
    <TaxCatchAll xmlns="ea3e4b80-20a0-46c1-93e7-c2ea17da974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B4F00FA3E7003141BC16E026FCE150A0" ma:contentTypeVersion="9" ma:contentTypeDescription="Ein neues Dokument erstellen." ma:contentTypeScope="" ma:versionID="81fdd1baeb05dd5d3c6f54ebd939c12b">
  <xsd:schema xmlns:xsd="http://www.w3.org/2001/XMLSchema" xmlns:xs="http://www.w3.org/2001/XMLSchema" xmlns:p="http://schemas.microsoft.com/office/2006/metadata/properties" xmlns:ns2="30a061b1-bdb8-4664-ad9e-272301b45d52" xmlns:ns3="ea3e4b80-20a0-46c1-93e7-c2ea17da9740" targetNamespace="http://schemas.microsoft.com/office/2006/metadata/properties" ma:root="true" ma:fieldsID="55b3a28bc68edd84972b93f076bf98e9" ns2:_="" ns3:_="">
    <xsd:import namespace="30a061b1-bdb8-4664-ad9e-272301b45d52"/>
    <xsd:import namespace="ea3e4b80-20a0-46c1-93e7-c2ea17da974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GenerationTime" minOccurs="0"/>
                <xsd:element ref="ns2:MediaServiceEventHashCode"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0a061b1-bdb8-4664-ad9e-272301b45d5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lcf76f155ced4ddcb4097134ff3c332f" ma:index="14" nillable="true" ma:taxonomy="true" ma:internalName="lcf76f155ced4ddcb4097134ff3c332f" ma:taxonomyFieldName="MediaServiceImageTags" ma:displayName="Bildmarkierungen" ma:readOnly="false" ma:fieldId="{5cf76f15-5ced-4ddc-b409-7134ff3c332f}" ma:taxonomyMulti="true" ma:sspId="9a67c07f-dccb-43db-a12a-df4e5df6847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3e4b80-20a0-46c1-93e7-c2ea17da9740"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9592c7a2-20fb-48c1-9e68-3bc94bbf2989}" ma:internalName="TaxCatchAll" ma:showField="CatchAllData" ma:web="ea3e4b80-20a0-46c1-93e7-c2ea17da9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7A5EF0C-90D1-4D3C-A2B4-06A65816A670}">
  <ds:schemaRefs>
    <ds:schemaRef ds:uri="http://schemas.microsoft.com/sharepoint/v3/contenttype/forms"/>
  </ds:schemaRefs>
</ds:datastoreItem>
</file>

<file path=customXml/itemProps2.xml><?xml version="1.0" encoding="utf-8"?>
<ds:datastoreItem xmlns:ds="http://schemas.openxmlformats.org/officeDocument/2006/customXml" ds:itemID="{02F6437E-F52A-440A-84E7-C3E49CFC8E2E}">
  <ds:schemaRefs>
    <ds:schemaRef ds:uri="ea3e4b80-20a0-46c1-93e7-c2ea17da9740"/>
    <ds:schemaRef ds:uri="http://purl.org/dc/terms/"/>
    <ds:schemaRef ds:uri="http://www.w3.org/XML/1998/namespace"/>
    <ds:schemaRef ds:uri="30a061b1-bdb8-4664-ad9e-272301b45d52"/>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dcmitype/"/>
    <ds:schemaRef ds:uri="http://purl.org/dc/elements/1.1/"/>
  </ds:schemaRefs>
</ds:datastoreItem>
</file>

<file path=customXml/itemProps3.xml><?xml version="1.0" encoding="utf-8"?>
<ds:datastoreItem xmlns:ds="http://schemas.openxmlformats.org/officeDocument/2006/customXml" ds:itemID="{FBDF54D0-716B-414B-A931-AD7D5D19B3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0a061b1-bdb8-4664-ad9e-272301b45d52"/>
    <ds:schemaRef ds:uri="ea3e4b80-20a0-46c1-93e7-c2ea17da97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ams-Meetup-Berlin</Template>
  <TotalTime>0</TotalTime>
  <Words>2840</Words>
  <Application>Microsoft Office PowerPoint</Application>
  <PresentationFormat>Breitbild</PresentationFormat>
  <Paragraphs>343</Paragraphs>
  <Slides>61</Slides>
  <Notes>33</Notes>
  <HiddenSlides>6</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61</vt:i4>
      </vt:variant>
    </vt:vector>
  </HeadingPairs>
  <TitlesOfParts>
    <vt:vector size="66" baseType="lpstr">
      <vt:lpstr>Aptos</vt:lpstr>
      <vt:lpstr>Aptos Light</vt:lpstr>
      <vt:lpstr>Arial</vt:lpstr>
      <vt:lpstr>Wingdings</vt:lpstr>
      <vt:lpstr>Office</vt:lpstr>
      <vt:lpstr>Microsoft Teams User Group Berlin</vt:lpstr>
      <vt:lpstr>PowerPoint-Präsentation</vt:lpstr>
      <vt:lpstr>PowerPoint-Präsentation</vt:lpstr>
      <vt:lpstr>Agenda</vt:lpstr>
      <vt:lpstr>Content-Migration nach SharePoint und Teams</vt:lpstr>
      <vt:lpstr>Neues in Microsoft Teams Ankündigungen &amp; Rollouts </vt:lpstr>
      <vt:lpstr>Neuigkeiten in Microsoft Teams</vt:lpstr>
      <vt:lpstr>New Microsoft Teams rollout schedule, new controls, and direct deployment</vt:lpstr>
      <vt:lpstr>Neuigkeiten in Microsoft Teams</vt:lpstr>
      <vt:lpstr>Addition of Chat button in Missed Call Activity</vt:lpstr>
      <vt:lpstr>Neuigkeiten in Microsoft Teams</vt:lpstr>
      <vt:lpstr>New Call Shortcuts in New Teams</vt:lpstr>
      <vt:lpstr>Neuigkeiten in Microsoft Teams</vt:lpstr>
      <vt:lpstr>Engagement Information in Teams Attendance Report (Premium)</vt:lpstr>
      <vt:lpstr>Engagement Information in Teams Attendance Report (Premium)</vt:lpstr>
      <vt:lpstr>Neuigkeiten in Microsoft Teams</vt:lpstr>
      <vt:lpstr>Emojis, GIFs and Stickers Unified in One Picker</vt:lpstr>
      <vt:lpstr>Neuigkeiten in Microsoft Teams</vt:lpstr>
      <vt:lpstr>Loop components in Channels and Loop Embed Mode in Teams</vt:lpstr>
      <vt:lpstr>Neuigkeiten in Microsoft Teams</vt:lpstr>
      <vt:lpstr>Intelligent Recap Support for Additional Languages (Premium)</vt:lpstr>
      <vt:lpstr>Intelligent Recap Support for Additional Languages (Premium)</vt:lpstr>
      <vt:lpstr>Neuigkeiten in Microsoft Teams</vt:lpstr>
      <vt:lpstr>Set 'Out of Office' from Teams Mobile Application</vt:lpstr>
      <vt:lpstr>Neues in Microsoft Teams Ankündigungen &amp; Rollouts  für Admins</vt:lpstr>
      <vt:lpstr>Neuigkeiten in Microsoft Teams für Admins</vt:lpstr>
      <vt:lpstr>Microsoft Teams Rooms Pro Management Improved Search for rooms</vt:lpstr>
      <vt:lpstr>Neuigkeiten in Microsoft Teams für Admins</vt:lpstr>
      <vt:lpstr>Neuigkeiten in Microsoft Teams für Admins</vt:lpstr>
      <vt:lpstr>Front Row Enhancement: Active video speaker promotion for Teams Rooms on Windows</vt:lpstr>
      <vt:lpstr>Neuigkeiten in Microsoft Teams für Admins</vt:lpstr>
      <vt:lpstr>Support Joining a Teams Live Event as Attendee for Teams Rooms on Windows</vt:lpstr>
      <vt:lpstr>Support Joining a Teams Live Event as Attendee for Teams Rooms on Windows</vt:lpstr>
      <vt:lpstr>Neuigkeiten in Microsoft Teams für Admins</vt:lpstr>
      <vt:lpstr>macOS name change: Microsoft Teams to Microsoft Teams classic MDM Impact</vt:lpstr>
      <vt:lpstr>macOS name change: Microsoft Teams to Microsoft Teams classic MDM Impact</vt:lpstr>
      <vt:lpstr>Neuigkeiten in Microsoft Teams für Admins</vt:lpstr>
      <vt:lpstr>Extended Real-time Telemetry Retention Up To Seven Days</vt:lpstr>
      <vt:lpstr>Neuigkeiten in Microsoft Teams für Admins</vt:lpstr>
      <vt:lpstr>Ratings and Reviews for Apps on Teams now Available</vt:lpstr>
      <vt:lpstr>Neuigkeiten in Microsoft Teams für Admins</vt:lpstr>
      <vt:lpstr>Bring-Your-Own-Device IT Admin Experience in Teams Pro Management Portal</vt:lpstr>
      <vt:lpstr>Neuigkeiten in Microsoft Teams für Admins</vt:lpstr>
      <vt:lpstr>Advanced Collaboration Analytics</vt:lpstr>
      <vt:lpstr>Advanced Collaboration Analytics</vt:lpstr>
      <vt:lpstr>Neuigkeiten in Microsoft Teams für Admins</vt:lpstr>
      <vt:lpstr>Webinar Email feature updates -customize content and time to send reminders</vt:lpstr>
      <vt:lpstr>Offene Teams Sprechstunde </vt:lpstr>
      <vt:lpstr>Themen</vt:lpstr>
      <vt:lpstr>Green screen feature in Teams Meetings </vt:lpstr>
      <vt:lpstr>Green screen feature in Teams Meetings </vt:lpstr>
      <vt:lpstr>Avatars: Hardware Requirements and Service Plan Update </vt:lpstr>
      <vt:lpstr>Introducing Microsoft Teams Town hall </vt:lpstr>
      <vt:lpstr>PowerPoint-Präsentation</vt:lpstr>
      <vt:lpstr>Microsoft Teams – Links </vt:lpstr>
      <vt:lpstr>PowerPoint-Präsentation</vt:lpstr>
      <vt:lpstr>Organisatorisches </vt:lpstr>
      <vt:lpstr>Teams Community Blog</vt:lpstr>
      <vt:lpstr>Organisatorisches</vt:lpstr>
      <vt:lpstr>Vielen Dank für eure Teilnahme!</vt:lpstr>
      <vt:lpstr>Offene Diskussio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ams User Group Berlin - Meetup Oktober 2023</dc:title>
  <dc:creator>Thomas Stensitzki</dc:creator>
  <cp:keywords>Teams</cp:keywords>
  <cp:lastModifiedBy>Thomas Stensitzki</cp:lastModifiedBy>
  <cp:revision>65</cp:revision>
  <dcterms:created xsi:type="dcterms:W3CDTF">2020-01-18T10:30:21Z</dcterms:created>
  <dcterms:modified xsi:type="dcterms:W3CDTF">2023-10-31T11:27:20Z</dcterms:modified>
  <cp:category>Teams User Group</cp:category>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4F00FA3E7003141BC16E026FCE150A0</vt:lpwstr>
  </property>
</Properties>
</file>